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92" r:id="rId2"/>
  </p:sldMasterIdLst>
  <p:notesMasterIdLst>
    <p:notesMasterId r:id="rId13"/>
  </p:notesMasterIdLst>
  <p:sldIdLst>
    <p:sldId id="1277" r:id="rId3"/>
    <p:sldId id="260" r:id="rId4"/>
    <p:sldId id="263" r:id="rId5"/>
    <p:sldId id="258" r:id="rId6"/>
    <p:sldId id="266" r:id="rId7"/>
    <p:sldId id="271" r:id="rId8"/>
    <p:sldId id="272" r:id="rId9"/>
    <p:sldId id="1283" r:id="rId10"/>
    <p:sldId id="275" r:id="rId11"/>
    <p:sldId id="29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93979" autoAdjust="0"/>
  </p:normalViewPr>
  <p:slideViewPr>
    <p:cSldViewPr snapToGrid="0">
      <p:cViewPr varScale="1">
        <p:scale>
          <a:sx n="68" d="100"/>
          <a:sy n="68" d="100"/>
        </p:scale>
        <p:origin x="78" y="60"/>
      </p:cViewPr>
      <p:guideLst/>
    </p:cSldViewPr>
  </p:slideViewPr>
  <p:notesTextViewPr>
    <p:cViewPr>
      <p:scale>
        <a:sx n="25" d="100"/>
        <a:sy n="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70588235294124E-2"/>
          <c:y val="3.0651340996168581E-2"/>
          <c:w val="0.86238791325862663"/>
          <c:h val="0.93256704980842908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92632544"/>
        <c:axId val="892632960"/>
      </c:barChart>
      <c:catAx>
        <c:axId val="892632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2632960"/>
        <c:crosses val="autoZero"/>
        <c:auto val="1"/>
        <c:lblAlgn val="ctr"/>
        <c:lblOffset val="100"/>
        <c:noMultiLvlLbl val="0"/>
      </c:catAx>
      <c:valAx>
        <c:axId val="892632960"/>
        <c:scaling>
          <c:orientation val="minMax"/>
          <c:max val="5"/>
          <c:min val="0"/>
        </c:scaling>
        <c:delete val="1"/>
        <c:axPos val="l"/>
        <c:numFmt formatCode="#,##0.00" sourceLinked="1"/>
        <c:majorTickMark val="out"/>
        <c:minorTickMark val="none"/>
        <c:tickLblPos val="nextTo"/>
        <c:crossAx val="89263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accent2"/>
      </a:solidFill>
      <a:prstDash val="dash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70588235294124E-2"/>
          <c:y val="3.0651340996168581E-2"/>
          <c:w val="0.86238791325862663"/>
          <c:h val="0.932567049808429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ectivene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82606"/>
              </a:solidFill>
              <a:ln>
                <a:noFill/>
              </a:ln>
              <a:effectLst>
                <a:softEdge rad="0"/>
              </a:effectLst>
            </c:spPr>
            <c:extLst>
              <c:ext xmlns:c16="http://schemas.microsoft.com/office/drawing/2014/chart" uri="{C3380CC4-5D6E-409C-BE32-E72D297353CC}">
                <c16:uniqueId val="{00000001-4265-4F41-97E6-6C8855E5936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65-4F41-97E6-6C8855E5936A}"/>
              </c:ext>
            </c:extLst>
          </c:dPt>
          <c:dPt>
            <c:idx val="2"/>
            <c:invertIfNegative val="0"/>
            <c:bubble3D val="0"/>
            <c:spPr>
              <a:solidFill>
                <a:srgbClr val="34A5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65-4F41-97E6-6C8855E5936A}"/>
              </c:ext>
            </c:extLst>
          </c:dPt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569881069762535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265-4F41-97E6-6C8855E5936A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51908389560148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265-4F41-97E6-6C8855E5936A}"/>
                </c:ext>
              </c:extLst>
            </c:dLbl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5442042917837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265-4F41-97E6-6C8855E5936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9.3197003042934146</c:v>
                </c:pt>
                <c:pt idx="1">
                  <c:v>10.547391299119274</c:v>
                </c:pt>
                <c:pt idx="2">
                  <c:v>9.5143466337038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65-4F41-97E6-6C8855E593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92632544"/>
        <c:axId val="892632960"/>
      </c:barChart>
      <c:catAx>
        <c:axId val="892632544"/>
        <c:scaling>
          <c:orientation val="maxMin"/>
        </c:scaling>
        <c:delete val="0"/>
        <c:axPos val="l"/>
        <c:numFmt formatCode="#,##0.00" sourceLinked="0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632960"/>
        <c:crosses val="autoZero"/>
        <c:auto val="1"/>
        <c:lblAlgn val="ctr"/>
        <c:lblOffset val="100"/>
        <c:noMultiLvlLbl val="0"/>
      </c:catAx>
      <c:valAx>
        <c:axId val="892632960"/>
        <c:scaling>
          <c:orientation val="minMax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89263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70588235294124E-2"/>
          <c:y val="3.0651340996168581E-2"/>
          <c:w val="0.86238791325862663"/>
          <c:h val="0.932567049808429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O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8260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E6-4EF4-A826-66B3FA10367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E6-4EF4-A826-66B3FA10367D}"/>
              </c:ext>
            </c:extLst>
          </c:dPt>
          <c:dPt>
            <c:idx val="2"/>
            <c:invertIfNegative val="0"/>
            <c:bubble3D val="0"/>
            <c:spPr>
              <a:solidFill>
                <a:srgbClr val="34A5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BE6-4EF4-A826-66B3FA10367D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17202744558828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BE6-4EF4-A826-66B3FA10367D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485393284520105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BE6-4EF4-A826-66B3FA10367D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256515230830713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BE6-4EF4-A826-66B3FA1036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B$2:$B$4</c:f>
              <c:numCache>
                <c:formatCode>#,##0.00000</c:formatCode>
                <c:ptCount val="3"/>
                <c:pt idx="0">
                  <c:v>7.3814743625637703E-4</c:v>
                </c:pt>
                <c:pt idx="1">
                  <c:v>7.1251169264409722E-4</c:v>
                </c:pt>
                <c:pt idx="2">
                  <c:v>7.254672214667875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BE6-4EF4-A826-66B3FA1036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92632544"/>
        <c:axId val="892632960"/>
      </c:barChart>
      <c:catAx>
        <c:axId val="89263254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632960"/>
        <c:crosses val="autoZero"/>
        <c:auto val="1"/>
        <c:lblAlgn val="ctr"/>
        <c:lblOffset val="100"/>
        <c:noMultiLvlLbl val="0"/>
      </c:catAx>
      <c:valAx>
        <c:axId val="892632960"/>
        <c:scaling>
          <c:orientation val="minMax"/>
          <c:min val="0"/>
        </c:scaling>
        <c:delete val="1"/>
        <c:axPos val="t"/>
        <c:numFmt formatCode="#,##0.00000" sourceLinked="1"/>
        <c:majorTickMark val="out"/>
        <c:minorTickMark val="none"/>
        <c:tickLblPos val="nextTo"/>
        <c:crossAx val="89263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70500982035422E-2"/>
          <c:y val="0.10618185587365941"/>
          <c:w val="0.86238791325862663"/>
          <c:h val="0.543309354473925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O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8260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D1-4C2A-9803-DCA025382BF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D1-4C2A-9803-DCA025382BFE}"/>
              </c:ext>
            </c:extLst>
          </c:dPt>
          <c:dPt>
            <c:idx val="2"/>
            <c:invertIfNegative val="0"/>
            <c:bubble3D val="0"/>
            <c:spPr>
              <a:solidFill>
                <a:srgbClr val="34A5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4D1-4C2A-9803-DCA025382BFE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ub Optimal 
(&lt; 3%)</c:v>
                </c:pt>
                <c:pt idx="1">
                  <c:v>Opportunity to Improve (3-10%)</c:v>
                </c:pt>
                <c:pt idx="2">
                  <c:v>Optimal (&gt;10%)</c:v>
                </c:pt>
              </c:strCache>
            </c:strRef>
          </c:cat>
          <c:val>
            <c:numRef>
              <c:f>Sheet1!$B$2:$B$4</c:f>
              <c:numCache>
                <c:formatCode>#,##0.00</c:formatCode>
                <c:ptCount val="3"/>
                <c:pt idx="0">
                  <c:v>0.68</c:v>
                </c:pt>
                <c:pt idx="1">
                  <c:v>1.35</c:v>
                </c:pt>
                <c:pt idx="2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4D1-4C2A-9803-DCA025382B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92632544"/>
        <c:axId val="892632960"/>
      </c:barChart>
      <c:catAx>
        <c:axId val="892632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632960"/>
        <c:crosses val="autoZero"/>
        <c:auto val="1"/>
        <c:lblAlgn val="ctr"/>
        <c:lblOffset val="100"/>
        <c:noMultiLvlLbl val="0"/>
      </c:catAx>
      <c:valAx>
        <c:axId val="892632960"/>
        <c:scaling>
          <c:orientation val="minMax"/>
          <c:max val="5"/>
          <c:min val="0"/>
        </c:scaling>
        <c:delete val="1"/>
        <c:axPos val="l"/>
        <c:numFmt formatCode="#,##0.00" sourceLinked="1"/>
        <c:majorTickMark val="out"/>
        <c:minorTickMark val="none"/>
        <c:tickLblPos val="nextTo"/>
        <c:crossAx val="89263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accent2"/>
      </a:solidFill>
      <a:prstDash val="dash"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657272411707448E-2"/>
          <c:y val="0.19175041442188148"/>
          <c:w val="0.95202415665560947"/>
          <c:h val="0.604058744301699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25252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6D8-44AA-BD79-45EFB8B56627}"/>
              </c:ext>
            </c:extLst>
          </c:dPt>
          <c:dPt>
            <c:idx val="1"/>
            <c:invertIfNegative val="0"/>
            <c:bubble3D val="0"/>
            <c:spPr>
              <a:solidFill>
                <a:srgbClr val="4F82BD"/>
              </a:solidFill>
            </c:spPr>
            <c:extLst>
              <c:ext xmlns:c16="http://schemas.microsoft.com/office/drawing/2014/chart" uri="{C3380CC4-5D6E-409C-BE32-E72D297353CC}">
                <c16:uniqueId val="{00000002-96D8-44AA-BD79-45EFB8B5662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6D8-44AA-BD79-45EFB8B5662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6D8-44AA-BD79-45EFB8B5662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6D8-44AA-BD79-45EFB8B5662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6D8-44AA-BD79-45EFB8B5662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6D8-44AA-BD79-45EFB8B5662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6D8-44AA-BD79-45EFB8B5662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6D8-44AA-BD79-45EFB8B5662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5E5783C8-F516-42F8-A689-BE297C361FBE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96D8-44AA-BD79-45EFB8B5662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053387D-CCFF-437F-B1EB-78823BEC3E79}" type="VALUE">
                      <a:rPr lang="en-US" smtClean="0"/>
                      <a:pPr/>
                      <a:t>[VALUE]</a:t>
                    </a:fld>
                    <a:r>
                      <a:rPr lang="en-US"/>
                      <a:t>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96D8-44AA-BD79-45EFB8B5662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Current</c:v>
                </c:pt>
                <c:pt idx="1">
                  <c:v>Optimised</c:v>
                </c:pt>
              </c:strCache>
            </c:strRef>
          </c:cat>
          <c:val>
            <c:numRef>
              <c:f>Sheet1!$B$2:$B$3</c:f>
              <c:numCache>
                <c:formatCode>_(* #,##0.00_);_(* \(#,##0.00\);_(* "-"??_);_(@_)</c:formatCode>
                <c:ptCount val="2"/>
                <c:pt idx="0">
                  <c:v>2243.4612505213004</c:v>
                </c:pt>
                <c:pt idx="1">
                  <c:v>2360.258780350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6D8-44AA-BD79-45EFB8B566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noFill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Current</c:v>
                </c:pt>
                <c:pt idx="1">
                  <c:v>Optimised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B-96D8-44AA-BD79-45EFB8B5662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449549552"/>
        <c:axId val="-449544656"/>
      </c:barChart>
      <c:catAx>
        <c:axId val="-449549552"/>
        <c:scaling>
          <c:orientation val="minMax"/>
        </c:scaling>
        <c:delete val="0"/>
        <c:axPos val="b"/>
        <c:numFmt formatCode="&quot;$&quot;#,##0.00" sourceLinked="0"/>
        <c:majorTickMark val="out"/>
        <c:minorTickMark val="none"/>
        <c:tickLblPos val="nextTo"/>
        <c:spPr>
          <a:ln w="12700">
            <a:solidFill>
              <a:srgbClr val="000000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-449544656"/>
        <c:crosses val="autoZero"/>
        <c:auto val="1"/>
        <c:lblAlgn val="ctr"/>
        <c:lblOffset val="0"/>
        <c:noMultiLvlLbl val="0"/>
      </c:catAx>
      <c:valAx>
        <c:axId val="-449544656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extTo"/>
        <c:crossAx val="-449549552"/>
        <c:crosses val="autoZero"/>
        <c:crossBetween val="between"/>
      </c:valAx>
    </c:plotArea>
    <c:plotVisOnly val="1"/>
    <c:dispBlanksAs val="gap"/>
    <c:showDLblsOverMax val="0"/>
  </c:chart>
  <c:spPr>
    <a:solidFill>
      <a:srgbClr val="FFFFFF"/>
    </a:solidFill>
    <a:ln>
      <a:solidFill>
        <a:srgbClr val="858585"/>
      </a:solidFill>
      <a:prstDash val="dash"/>
    </a:ln>
  </c:spPr>
  <c:txPr>
    <a:bodyPr/>
    <a:lstStyle/>
    <a:p>
      <a:pPr>
        <a:defRPr sz="900">
          <a:latin typeface="+mn-lt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36888869041115E-2"/>
          <c:y val="1.5255867179247883E-2"/>
          <c:w val="0.95365528752604234"/>
          <c:h val="0.93004518450521634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6350">
              <a:noFill/>
            </a:ln>
            <a:effectLst/>
          </c:spPr>
          <c:cat>
            <c:numRef>
              <c:f>Sheet1!$A$2:$A$26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260</c:v>
                </c:pt>
                <c:pt idx="1">
                  <c:v>264</c:v>
                </c:pt>
                <c:pt idx="2">
                  <c:v>268</c:v>
                </c:pt>
                <c:pt idx="3">
                  <c:v>264</c:v>
                </c:pt>
                <c:pt idx="4">
                  <c:v>272</c:v>
                </c:pt>
                <c:pt idx="5">
                  <c:v>268</c:v>
                </c:pt>
                <c:pt idx="6">
                  <c:v>268</c:v>
                </c:pt>
                <c:pt idx="7">
                  <c:v>268</c:v>
                </c:pt>
                <c:pt idx="8">
                  <c:v>272</c:v>
                </c:pt>
                <c:pt idx="9">
                  <c:v>280</c:v>
                </c:pt>
                <c:pt idx="10">
                  <c:v>280</c:v>
                </c:pt>
                <c:pt idx="11">
                  <c:v>280</c:v>
                </c:pt>
                <c:pt idx="12">
                  <c:v>276</c:v>
                </c:pt>
                <c:pt idx="13">
                  <c:v>284</c:v>
                </c:pt>
                <c:pt idx="14">
                  <c:v>292</c:v>
                </c:pt>
                <c:pt idx="15">
                  <c:v>296</c:v>
                </c:pt>
                <c:pt idx="16">
                  <c:v>296</c:v>
                </c:pt>
                <c:pt idx="17">
                  <c:v>296</c:v>
                </c:pt>
                <c:pt idx="18">
                  <c:v>300</c:v>
                </c:pt>
                <c:pt idx="19">
                  <c:v>308</c:v>
                </c:pt>
                <c:pt idx="20">
                  <c:v>316</c:v>
                </c:pt>
                <c:pt idx="21">
                  <c:v>312</c:v>
                </c:pt>
                <c:pt idx="22">
                  <c:v>312</c:v>
                </c:pt>
                <c:pt idx="23">
                  <c:v>312</c:v>
                </c:pt>
                <c:pt idx="24">
                  <c:v>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E9-4E1A-B344-6E1F787567F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chemeClr val="accent3"/>
            </a:solidFill>
            <a:ln w="6350">
              <a:noFill/>
            </a:ln>
            <a:effectLst/>
          </c:spPr>
          <c:cat>
            <c:numRef>
              <c:f>Sheet1!$A$2:$A$26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cat>
          <c:val>
            <c:numRef>
              <c:f>Sheet1!$C$2:$C$26</c:f>
              <c:numCache>
                <c:formatCode>General</c:formatCode>
                <c:ptCount val="25"/>
                <c:pt idx="0">
                  <c:v>100</c:v>
                </c:pt>
                <c:pt idx="1">
                  <c:v>71.599999999999994</c:v>
                </c:pt>
                <c:pt idx="2">
                  <c:v>50.2</c:v>
                </c:pt>
                <c:pt idx="3">
                  <c:v>74.400000000000006</c:v>
                </c:pt>
                <c:pt idx="4">
                  <c:v>0</c:v>
                </c:pt>
                <c:pt idx="5">
                  <c:v>0</c:v>
                </c:pt>
                <c:pt idx="6">
                  <c:v>70.599999999999994</c:v>
                </c:pt>
                <c:pt idx="7">
                  <c:v>79.599999999999994</c:v>
                </c:pt>
                <c:pt idx="8">
                  <c:v>36.799999999999997</c:v>
                </c:pt>
                <c:pt idx="9">
                  <c:v>83</c:v>
                </c:pt>
                <c:pt idx="10">
                  <c:v>80.2</c:v>
                </c:pt>
                <c:pt idx="11">
                  <c:v>57.8</c:v>
                </c:pt>
                <c:pt idx="12">
                  <c:v>66.8</c:v>
                </c:pt>
                <c:pt idx="13">
                  <c:v>37.4</c:v>
                </c:pt>
                <c:pt idx="14">
                  <c:v>32.6</c:v>
                </c:pt>
                <c:pt idx="15">
                  <c:v>21.8</c:v>
                </c:pt>
                <c:pt idx="16">
                  <c:v>36</c:v>
                </c:pt>
                <c:pt idx="17">
                  <c:v>93.4</c:v>
                </c:pt>
                <c:pt idx="18">
                  <c:v>37</c:v>
                </c:pt>
                <c:pt idx="19">
                  <c:v>69</c:v>
                </c:pt>
                <c:pt idx="20">
                  <c:v>25</c:v>
                </c:pt>
                <c:pt idx="21">
                  <c:v>11.2</c:v>
                </c:pt>
                <c:pt idx="22">
                  <c:v>37.200000000000003</c:v>
                </c:pt>
                <c:pt idx="23">
                  <c:v>44.2</c:v>
                </c:pt>
                <c:pt idx="2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E9-4E1A-B344-6E1F787567F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napchat</c:v>
                </c:pt>
              </c:strCache>
            </c:strRef>
          </c:tx>
          <c:spPr>
            <a:solidFill>
              <a:schemeClr val="accent1"/>
            </a:solidFill>
            <a:ln w="6350">
              <a:noFill/>
            </a:ln>
            <a:effectLst/>
          </c:spPr>
          <c:cat>
            <c:numRef>
              <c:f>Sheet1!$A$2:$A$26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cat>
          <c:val>
            <c:numRef>
              <c:f>Sheet1!$D$2:$D$26</c:f>
              <c:numCache>
                <c:formatCode>General</c:formatCode>
                <c:ptCount val="25"/>
                <c:pt idx="0">
                  <c:v>11.5</c:v>
                </c:pt>
                <c:pt idx="1">
                  <c:v>96.25</c:v>
                </c:pt>
                <c:pt idx="2">
                  <c:v>77.75</c:v>
                </c:pt>
                <c:pt idx="3">
                  <c:v>107.5</c:v>
                </c:pt>
                <c:pt idx="4">
                  <c:v>60.25</c:v>
                </c:pt>
                <c:pt idx="5">
                  <c:v>64</c:v>
                </c:pt>
                <c:pt idx="6">
                  <c:v>97</c:v>
                </c:pt>
                <c:pt idx="7">
                  <c:v>52.25</c:v>
                </c:pt>
                <c:pt idx="8">
                  <c:v>50.75</c:v>
                </c:pt>
                <c:pt idx="9">
                  <c:v>41.75</c:v>
                </c:pt>
                <c:pt idx="10">
                  <c:v>101.75</c:v>
                </c:pt>
                <c:pt idx="11">
                  <c:v>62.5</c:v>
                </c:pt>
                <c:pt idx="12">
                  <c:v>20.25</c:v>
                </c:pt>
                <c:pt idx="13">
                  <c:v>48.5</c:v>
                </c:pt>
                <c:pt idx="14">
                  <c:v>35</c:v>
                </c:pt>
                <c:pt idx="15">
                  <c:v>95.75</c:v>
                </c:pt>
                <c:pt idx="16">
                  <c:v>9.7200000000000006</c:v>
                </c:pt>
                <c:pt idx="17">
                  <c:v>11.75</c:v>
                </c:pt>
                <c:pt idx="18">
                  <c:v>114.5</c:v>
                </c:pt>
                <c:pt idx="19">
                  <c:v>15.5</c:v>
                </c:pt>
                <c:pt idx="20">
                  <c:v>27.75</c:v>
                </c:pt>
                <c:pt idx="21">
                  <c:v>14.75</c:v>
                </c:pt>
                <c:pt idx="22">
                  <c:v>111.25</c:v>
                </c:pt>
                <c:pt idx="23">
                  <c:v>84.5</c:v>
                </c:pt>
                <c:pt idx="24">
                  <c:v>5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E9-4E1A-B344-6E1F787567F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tx2"/>
            </a:solidFill>
            <a:ln w="6350">
              <a:noFill/>
            </a:ln>
            <a:effectLst/>
          </c:spPr>
          <c:cat>
            <c:numRef>
              <c:f>Sheet1!$A$2:$A$26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cat>
          <c:val>
            <c:numRef>
              <c:f>Sheet1!$E$2:$E$26</c:f>
              <c:numCache>
                <c:formatCode>General</c:formatCode>
                <c:ptCount val="25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180</c:v>
                </c:pt>
                <c:pt idx="9">
                  <c:v>300</c:v>
                </c:pt>
                <c:pt idx="10">
                  <c:v>0</c:v>
                </c:pt>
                <c:pt idx="11">
                  <c:v>0</c:v>
                </c:pt>
                <c:pt idx="12">
                  <c:v>30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3E9-4E1A-B344-6E1F787567F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loco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  <a:effectLst/>
          </c:spPr>
          <c:cat>
            <c:numRef>
              <c:f>Sheet1!$A$2:$A$26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cat>
          <c:val>
            <c:numRef>
              <c:f>Sheet1!$F$2:$F$26</c:f>
              <c:numCache>
                <c:formatCode>General</c:formatCode>
                <c:ptCount val="25"/>
              </c:numCache>
            </c:numRef>
          </c:val>
          <c:extLst>
            <c:ext xmlns:c16="http://schemas.microsoft.com/office/drawing/2014/chart" uri="{C3380CC4-5D6E-409C-BE32-E72D297353CC}">
              <c16:uniqueId val="{00000004-23E9-4E1A-B344-6E1F787567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4992112"/>
        <c:axId val="274992672"/>
      </c:areaChart>
      <c:catAx>
        <c:axId val="274992112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274992672"/>
        <c:crosses val="autoZero"/>
        <c:auto val="1"/>
        <c:lblAlgn val="ctr"/>
        <c:lblOffset val="100"/>
        <c:noMultiLvlLbl val="0"/>
      </c:catAx>
      <c:valAx>
        <c:axId val="2749926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499211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601559235951133"/>
          <c:y val="0.2107188624213259"/>
          <c:w val="0.90362204724409445"/>
          <c:h val="0.68920877112375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ie</c:v>
                </c:pt>
              </c:strCache>
            </c:strRef>
          </c:tx>
          <c:dPt>
            <c:idx val="0"/>
            <c:bubble3D val="0"/>
            <c:spPr>
              <a:solidFill>
                <a:srgbClr val="C82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5A-4DE7-8FF6-9A592960A07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5A-4DE7-8FF6-9A592960A07D}"/>
              </c:ext>
            </c:extLst>
          </c:dPt>
          <c:dPt>
            <c:idx val="2"/>
            <c:bubble3D val="0"/>
            <c:spPr>
              <a:solidFill>
                <a:srgbClr val="34A5D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75A-4DE7-8FF6-9A592960A07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75A-4DE7-8FF6-9A592960A07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75A-4DE7-8FF6-9A592960A07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75A-4DE7-8FF6-9A592960A07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75A-4DE7-8FF6-9A592960A07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75A-4DE7-8FF6-9A592960A07D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75A-4DE7-8FF6-9A592960A07D}"/>
              </c:ext>
            </c:extLst>
          </c:dPt>
          <c:dLbls>
            <c:dLbl>
              <c:idx val="0"/>
              <c:layout>
                <c:manualLayout>
                  <c:x val="-3.7015589638504328E-3"/>
                  <c:y val="-4.9256809520313426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75A-4DE7-8FF6-9A592960A07D}"/>
                </c:ext>
              </c:extLst>
            </c:dLbl>
            <c:dLbl>
              <c:idx val="1"/>
              <c:layout>
                <c:manualLayout>
                  <c:x val="8.9515644615099314E-3"/>
                  <c:y val="9.0783919127626719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75A-4DE7-8FF6-9A592960A07D}"/>
                </c:ext>
              </c:extLst>
            </c:dLbl>
            <c:dLbl>
              <c:idx val="2"/>
              <c:layout>
                <c:manualLayout>
                  <c:x val="0.22378364687487637"/>
                  <c:y val="-0.1158068972882057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75A-4DE7-8FF6-9A592960A07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 Optimal (&lt; 3%)</c:v>
                </c:pt>
                <c:pt idx="1">
                  <c:v>Opportunity to Improve (3-10%)</c:v>
                </c:pt>
                <c:pt idx="2">
                  <c:v>Optimal (&gt;10%)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3.6600000000000001E-2</c:v>
                </c:pt>
                <c:pt idx="1">
                  <c:v>0.183</c:v>
                </c:pt>
                <c:pt idx="2">
                  <c:v>0.780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375A-4DE7-8FF6-9A592960A0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375A-4DE7-8FF6-9A592960A07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375A-4DE7-8FF6-9A592960A07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375A-4DE7-8FF6-9A592960A07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 Optimal (&lt; 3%)</c:v>
                </c:pt>
                <c:pt idx="1">
                  <c:v>Opportunity to Improve (3-10%)</c:v>
                </c:pt>
                <c:pt idx="2">
                  <c:v>Optimal (&gt;10%)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19-375A-4DE7-8FF6-9A592960A07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8273736271592118E-2"/>
          <c:y val="0.19272564125309627"/>
          <c:w val="0.43888493347540086"/>
          <c:h val="0.614549539008751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130165145286046E-2"/>
          <c:y val="0.13396619454968364"/>
          <c:w val="0.90362204724409445"/>
          <c:h val="0.68920877112375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ie</c:v>
                </c:pt>
              </c:strCache>
            </c:strRef>
          </c:tx>
          <c:dPt>
            <c:idx val="0"/>
            <c:bubble3D val="0"/>
            <c:spPr>
              <a:solidFill>
                <a:srgbClr val="C82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A3-4486-9C04-8FAC131D323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A3-4486-9C04-8FAC131D323E}"/>
              </c:ext>
            </c:extLst>
          </c:dPt>
          <c:dPt>
            <c:idx val="2"/>
            <c:bubble3D val="0"/>
            <c:spPr>
              <a:solidFill>
                <a:srgbClr val="34A5D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A3-4486-9C04-8FAC131D323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AA3-4486-9C04-8FAC131D323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AA3-4486-9C04-8FAC131D323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AA3-4486-9C04-8FAC131D323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EAA3-4486-9C04-8FAC131D323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EAA3-4486-9C04-8FAC131D323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AA3-4486-9C04-8FAC131D323E}"/>
              </c:ext>
            </c:extLst>
          </c:dPt>
          <c:dLbls>
            <c:dLbl>
              <c:idx val="0"/>
              <c:layout>
                <c:manualLayout>
                  <c:x val="-0.18053619956797437"/>
                  <c:y val="-3.78303009656080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AA3-4486-9C04-8FAC131D323E}"/>
                </c:ext>
              </c:extLst>
            </c:dLbl>
            <c:dLbl>
              <c:idx val="1"/>
              <c:layout>
                <c:manualLayout>
                  <c:x val="-4.4249529649501775E-2"/>
                  <c:y val="8.5014539792899382E-3"/>
                </c:manualLayout>
              </c:layout>
              <c:tx>
                <c:rich>
                  <a:bodyPr/>
                  <a:lstStyle/>
                  <a:p>
                    <a:fld id="{C568368B-026D-4BCA-B065-C1D356D194AF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A3-4486-9C04-8FAC131D323E}"/>
                </c:ext>
              </c:extLst>
            </c:dLbl>
            <c:dLbl>
              <c:idx val="2"/>
              <c:layout>
                <c:manualLayout>
                  <c:x val="0.15486551459828585"/>
                  <c:y val="4.225003660525399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A3-4486-9C04-8FAC131D323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9612130595825887</c:v>
                </c:pt>
                <c:pt idx="1">
                  <c:v>0.1003732998642233</c:v>
                </c:pt>
                <c:pt idx="2">
                  <c:v>0.40350539417751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AA3-4486-9C04-8FAC131D32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EAA3-4486-9C04-8FAC131D323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EAA3-4486-9C04-8FAC131D323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EAA3-4486-9C04-8FAC131D323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19-EAA3-4486-9C04-8FAC131D3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70588235294124E-2"/>
          <c:y val="3.0651340996168581E-2"/>
          <c:w val="0.86238791325862663"/>
          <c:h val="0.932567049808429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ectivene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82606"/>
              </a:solidFill>
              <a:ln>
                <a:noFill/>
              </a:ln>
              <a:effectLst>
                <a:softEdge rad="0"/>
              </a:effectLst>
            </c:spPr>
            <c:extLst>
              <c:ext xmlns:c16="http://schemas.microsoft.com/office/drawing/2014/chart" uri="{C3380CC4-5D6E-409C-BE32-E72D297353CC}">
                <c16:uniqueId val="{00000001-4265-4F41-97E6-6C8855E5936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65-4F41-97E6-6C8855E5936A}"/>
              </c:ext>
            </c:extLst>
          </c:dPt>
          <c:dPt>
            <c:idx val="2"/>
            <c:invertIfNegative val="0"/>
            <c:bubble3D val="0"/>
            <c:spPr>
              <a:solidFill>
                <a:srgbClr val="34A5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65-4F41-97E6-6C8855E5936A}"/>
              </c:ext>
            </c:extLst>
          </c:dPt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569881069762535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265-4F41-97E6-6C8855E5936A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51908389560148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265-4F41-97E6-6C8855E5936A}"/>
                </c:ext>
              </c:extLst>
            </c:dLbl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5442042917837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265-4F41-97E6-6C8855E5936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15.479709356677038</c:v>
                </c:pt>
                <c:pt idx="1">
                  <c:v>11.990528265036787</c:v>
                </c:pt>
                <c:pt idx="2">
                  <c:v>12.046032877626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65-4F41-97E6-6C8855E593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92632544"/>
        <c:axId val="892632960"/>
      </c:barChart>
      <c:catAx>
        <c:axId val="892632544"/>
        <c:scaling>
          <c:orientation val="maxMin"/>
        </c:scaling>
        <c:delete val="0"/>
        <c:axPos val="l"/>
        <c:numFmt formatCode="#,##0.00" sourceLinked="0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632960"/>
        <c:crosses val="autoZero"/>
        <c:auto val="1"/>
        <c:lblAlgn val="ctr"/>
        <c:lblOffset val="100"/>
        <c:noMultiLvlLbl val="0"/>
      </c:catAx>
      <c:valAx>
        <c:axId val="892632960"/>
        <c:scaling>
          <c:orientation val="minMax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89263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70588235294124E-2"/>
          <c:y val="3.0651340996168581E-2"/>
          <c:w val="0.86238791325862663"/>
          <c:h val="0.932567049808429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O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8260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E6-4EF4-A826-66B3FA10367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E6-4EF4-A826-66B3FA10367D}"/>
              </c:ext>
            </c:extLst>
          </c:dPt>
          <c:dPt>
            <c:idx val="2"/>
            <c:invertIfNegative val="0"/>
            <c:bubble3D val="0"/>
            <c:spPr>
              <a:solidFill>
                <a:srgbClr val="34A5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BE6-4EF4-A826-66B3FA10367D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17202744558828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BE6-4EF4-A826-66B3FA10367D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485393284520105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BE6-4EF4-A826-66B3FA10367D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256515230830713"/>
                      <c:h val="9.38237547892720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BE6-4EF4-A826-66B3FA1036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B$2:$B$4</c:f>
              <c:numCache>
                <c:formatCode>#,##0.0000</c:formatCode>
                <c:ptCount val="3"/>
                <c:pt idx="0">
                  <c:v>8.7277199195984201E-4</c:v>
                </c:pt>
                <c:pt idx="1">
                  <c:v>1.3785471866053253E-3</c:v>
                </c:pt>
                <c:pt idx="2">
                  <c:v>1.340919786203033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BE6-4EF4-A826-66B3FA1036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92632544"/>
        <c:axId val="892632960"/>
      </c:barChart>
      <c:catAx>
        <c:axId val="89263254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632960"/>
        <c:crosses val="autoZero"/>
        <c:auto val="1"/>
        <c:lblAlgn val="ctr"/>
        <c:lblOffset val="100"/>
        <c:noMultiLvlLbl val="0"/>
      </c:catAx>
      <c:valAx>
        <c:axId val="892632960"/>
        <c:scaling>
          <c:orientation val="minMax"/>
          <c:min val="0"/>
        </c:scaling>
        <c:delete val="1"/>
        <c:axPos val="t"/>
        <c:numFmt formatCode="#,##0.0000" sourceLinked="1"/>
        <c:majorTickMark val="out"/>
        <c:minorTickMark val="none"/>
        <c:tickLblPos val="nextTo"/>
        <c:crossAx val="89263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130165145286046E-2"/>
          <c:y val="0.13396619454968364"/>
          <c:w val="0.90362204724409445"/>
          <c:h val="0.68920877112375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ie</c:v>
                </c:pt>
              </c:strCache>
            </c:strRef>
          </c:tx>
          <c:dPt>
            <c:idx val="0"/>
            <c:bubble3D val="0"/>
            <c:spPr>
              <a:solidFill>
                <a:srgbClr val="C82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A3-4486-9C04-8FAC131D323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A3-4486-9C04-8FAC131D323E}"/>
              </c:ext>
            </c:extLst>
          </c:dPt>
          <c:dPt>
            <c:idx val="2"/>
            <c:bubble3D val="0"/>
            <c:spPr>
              <a:solidFill>
                <a:srgbClr val="34A5D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A3-4486-9C04-8FAC131D323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AA3-4486-9C04-8FAC131D323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AA3-4486-9C04-8FAC131D323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AA3-4486-9C04-8FAC131D323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EAA3-4486-9C04-8FAC131D323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EAA3-4486-9C04-8FAC131D323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AA3-4486-9C04-8FAC131D323E}"/>
              </c:ext>
            </c:extLst>
          </c:dPt>
          <c:dLbls>
            <c:dLbl>
              <c:idx val="0"/>
              <c:layout>
                <c:manualLayout>
                  <c:x val="-0.18053619956797437"/>
                  <c:y val="3.641658081151250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AA3-4486-9C04-8FAC131D323E}"/>
                </c:ext>
              </c:extLst>
            </c:dLbl>
            <c:dLbl>
              <c:idx val="1"/>
              <c:layout>
                <c:manualLayout>
                  <c:x val="0.25962441641697442"/>
                  <c:y val="-0.15349174262533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568368B-026D-4BCA-B065-C1D356D194AF}" type="VALUE">
                      <a:rPr lang="en-US" sz="1050">
                        <a:solidFill>
                          <a:schemeClr val="bg1"/>
                        </a:solidFill>
                      </a:rPr>
                      <a:pPr>
                        <a:defRPr sz="105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A3-4486-9C04-8FAC131D323E}"/>
                </c:ext>
              </c:extLst>
            </c:dLbl>
            <c:dLbl>
              <c:idx val="2"/>
              <c:layout>
                <c:manualLayout>
                  <c:x val="0.225661974775277"/>
                  <c:y val="0.1434957844831457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AA3-4486-9C04-8FAC131D323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3870511878226048</c:v>
                </c:pt>
                <c:pt idx="1">
                  <c:v>0.35766985918504857</c:v>
                </c:pt>
                <c:pt idx="2">
                  <c:v>0.20362502203269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AA3-4486-9C04-8FAC131D32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EAA3-4486-9C04-8FAC131D323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EAA3-4486-9C04-8FAC131D323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EAA3-4486-9C04-8FAC131D323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 Optimal</c:v>
                </c:pt>
                <c:pt idx="1">
                  <c:v>Opportunity To Improve</c:v>
                </c:pt>
                <c:pt idx="2">
                  <c:v>Optimal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19-EAA3-4486-9C04-8FAC131D3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5E7919-65A3-458C-B424-95E5AF3C65D6}" type="datetimeFigureOut">
              <a:rPr lang="en-IN" smtClean="0"/>
              <a:t>25-11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0693C9-C17E-47E0-8281-369183BBC0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21566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0693C9-C17E-47E0-8281-369183BBC00F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821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0693C9-C17E-47E0-8281-369183BBC00F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5094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0693C9-C17E-47E0-8281-369183BBC00F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931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with image (black)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9426" y="4937287"/>
            <a:ext cx="11003231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9426" y="5844494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55CD97-5577-47DD-8055-2554FB059845}"/>
              </a:ext>
            </a:extLst>
          </p:cNvPr>
          <p:cNvCxnSpPr>
            <a:cxnSpLocks/>
          </p:cNvCxnSpPr>
          <p:nvPr userDrawn="1"/>
        </p:nvCxnSpPr>
        <p:spPr>
          <a:xfrm>
            <a:off x="789426" y="5774071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A08C289-7366-436F-8CF8-F40843CA39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9426" y="293502"/>
            <a:ext cx="2219765" cy="747898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C840727-CE46-49A3-AC55-18C3C475CB7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408394"/>
            <a:ext cx="12192000" cy="3134003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BAB971E3-AA90-433B-914B-1D1DF50E21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72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4017368"/>
            <a:ext cx="11003231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505883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D8F2D4-A66A-4620-9307-3A6822381FC0}"/>
              </a:ext>
            </a:extLst>
          </p:cNvPr>
          <p:cNvCxnSpPr>
            <a:cxnSpLocks/>
          </p:cNvCxnSpPr>
          <p:nvPr userDrawn="1"/>
        </p:nvCxnSpPr>
        <p:spPr>
          <a:xfrm>
            <a:off x="774529" y="4921280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051B3B4E-29B2-4BD6-9E25-FBE50BE6C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CADC5D-D97C-4D08-B48C-24C8B8EDAB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47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6827AF2A-C6F6-44CB-9268-337ABFE038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38961"/>
            <a:ext cx="506444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E6AA64-E08E-42A2-97F7-59263D53F327}"/>
              </a:ext>
            </a:extLst>
          </p:cNvPr>
          <p:cNvSpPr/>
          <p:nvPr userDrawn="1"/>
        </p:nvSpPr>
        <p:spPr>
          <a:xfrm>
            <a:off x="774529" y="3810000"/>
            <a:ext cx="2032053" cy="9144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638EDF1-4AAF-4DBE-959A-5EA3ECD4CC6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-1"/>
            <a:ext cx="6000587" cy="685800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583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774529" y="2439000"/>
            <a:ext cx="9595011" cy="1980000"/>
          </a:xfrm>
          <a:prstGeom prst="rect">
            <a:avLst/>
          </a:prstGeom>
        </p:spPr>
        <p:txBody>
          <a:bodyPr anchor="ctr"/>
          <a:lstStyle>
            <a:lvl1pPr marL="628650" indent="0" algn="l">
              <a:spcBef>
                <a:spcPts val="198"/>
              </a:spcBef>
              <a:defRPr sz="5400" b="1">
                <a:solidFill>
                  <a:schemeClr val="accent1"/>
                </a:solidFill>
              </a:defRPr>
            </a:lvl1pPr>
            <a:lvl2pPr marL="0" indent="0" algn="l">
              <a:spcBef>
                <a:spcPts val="198"/>
              </a:spcBef>
              <a:buNone/>
              <a:defRPr sz="2178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2" name="L-Shape 1">
            <a:extLst>
              <a:ext uri="{FF2B5EF4-FFF2-40B4-BE49-F238E27FC236}">
                <a16:creationId xmlns:a16="http://schemas.microsoft.com/office/drawing/2014/main" id="{2E205DDC-D4E4-4ABA-96D8-AFECE4228CF7}"/>
              </a:ext>
            </a:extLst>
          </p:cNvPr>
          <p:cNvSpPr/>
          <p:nvPr userDrawn="1"/>
        </p:nvSpPr>
        <p:spPr bwMode="ltGray">
          <a:xfrm>
            <a:off x="774529" y="2439000"/>
            <a:ext cx="1121707" cy="1980000"/>
          </a:xfrm>
          <a:prstGeom prst="corner">
            <a:avLst>
              <a:gd name="adj1" fmla="val 13974"/>
              <a:gd name="adj2" fmla="val 1740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1F03530-389F-40CC-B262-3C61111018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396" y="61225"/>
            <a:ext cx="1043737" cy="103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27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nalytic Edge Proprietary and Confidentia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09628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500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7640" y="1569036"/>
            <a:ext cx="1062341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3BAA4A6-07CF-43B8-B2EE-4F2BC4F7917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87640" y="6021389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A75651F7-9FE4-4CA6-BB6F-3D99DE57C4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0" y="6311902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13064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62C173C-81B4-41BF-8528-F6F84B0B1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BB25D8C-DBED-47E2-A369-32F0C5CFEA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537924A5-4EAA-48C4-AFDD-6D802C66823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7640" y="2056565"/>
            <a:ext cx="1062341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26C9ACE-2A28-4CB6-819F-C34D2DC151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195" y="1554867"/>
            <a:ext cx="10623418" cy="396000"/>
          </a:xfrm>
        </p:spPr>
        <p:txBody>
          <a:bodyPr lIns="91440" rIns="91440" anchor="ctr"/>
          <a:lstStyle>
            <a:lvl1pPr>
              <a:spcBef>
                <a:spcPts val="594"/>
              </a:spcBef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22839E71-8B29-4845-841A-8215AD2B404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0" y="6021389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D23D871F-19A0-4328-99B1-9AA54747D6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0" y="6311902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08629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16C444-2BA2-4764-8AE2-C17820608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5E2A09C-A6A8-4796-A0A2-266CE749A3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1872F07C-203B-4855-84E3-3DDE299976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1569036"/>
            <a:ext cx="5248693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9739E1D5-3F34-4794-886B-8AB953C967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7920" y="1569036"/>
            <a:ext cx="5248693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D556FB6-F332-4AE1-BF35-5A31A3A2333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1" y="6021389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4D37EBEE-7C34-4410-B7C7-6B333D1F6D0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1" y="6311902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89A28B6E-B27B-46B6-BEA2-C5FA786351E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77920" y="6021389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4E78A103-ED29-43DA-97BD-C868F82A14E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77920" y="6311902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11855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04D195-3AEA-4801-A2B7-CF37B2165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CB1F3DC-1280-4947-96C8-214A791F48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01737EF-EBC2-4A2F-9AC9-30FAC42F6A5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2056563"/>
            <a:ext cx="5248693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242FAF92-B60B-4F51-93E4-094BD671B88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7920" y="2056563"/>
            <a:ext cx="5248693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15FE6E0-4F61-4929-8A91-41620FC82B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5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54DAFB3-3E7A-4450-BFE3-52150EEEF3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7919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BED078F5-54AA-4FD8-9B1D-DE55073225F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87641" y="6021389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3B602BC4-5A10-4A53-81B8-71A8C8EC041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1" y="6311902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28C0276D-354C-4408-A297-9580BB20BF7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77920" y="6021389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9CF535B3-A63C-4F4E-977A-F7425CC232E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77920" y="6311902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5770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2AAC361-FA0D-4473-A315-D41BA999E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0D19965-DF5F-4338-BCE1-6F49AFF4DD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0DFA10CF-57DD-4208-8F4B-91C3F2AE026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205656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74EFA145-CD25-4D81-9CC3-03C16543B0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7920" y="205656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6151B0F3-F678-4CE0-BC11-9BCF4FE335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5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4C8A08-860A-4514-BBC2-6D27C8DA48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0221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9128C202-628C-45D2-ADFA-C4D66D6F1D8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3195" y="456979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A07649F6-F4C6-45F0-91F0-038B4A21608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77920" y="456979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9911366D-2E08-479B-A541-2D2A9152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3195" y="406809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1CCD7537-018D-46B2-968A-5F70B2729E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0221" y="406809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625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DD0F29-8EC9-4D9C-9A9D-D60E858F22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ACA0395-730C-4FA7-93FD-9F2047EA3D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89B8612A-D878-4D0E-952F-2EFF10E7FC5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6" y="1569036"/>
            <a:ext cx="3404882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ECE0C705-512A-49B8-8422-EAD7A07AC1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21732" y="1569036"/>
            <a:ext cx="3404882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F1752D9-AA4A-4BA1-B346-812AFFDCF7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12464" y="1569036"/>
            <a:ext cx="3404882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7B639473-286C-400F-BCCB-B253891E0B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0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952E3ACC-4192-4886-B428-C44875E4653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87640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8144533C-8F67-4D1B-9A0B-105FFF25DD9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12463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4C6F6055-539D-4394-A92F-023ACA5FB03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12463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AC1FFB81-F1E6-4F80-8E05-EC33D20D915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021731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950440D4-3E12-4B06-930E-78E6D580F28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021731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0965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2FDA6AC-2E17-438C-AFBD-5A4CDF9619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971F930-67C4-4AD7-A96A-B4D2895303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467ACA4B-043D-4CAF-BE29-00D402766E8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4" y="2056564"/>
            <a:ext cx="340830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A92CB1C-76F0-443E-B130-834818686A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4" y="1554867"/>
            <a:ext cx="340830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E9392C68-7D57-4F7D-8A09-78705FAD3FD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10749" y="2056564"/>
            <a:ext cx="340830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35BF050-5304-4F33-A88D-4592BC7437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0749" y="1554867"/>
            <a:ext cx="340830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5767149E-B5C3-4D8F-994F-979BBB0AA45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18305" y="2056564"/>
            <a:ext cx="340830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EDC8695-8782-452B-9779-95592E9C91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18305" y="1554867"/>
            <a:ext cx="340830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C69E5AF9-0593-4CB8-8D4B-97000FDE41B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87640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9231644E-C1E9-4B37-8D28-A1383D569DD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787640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8" name="Content Placeholder 9">
            <a:extLst>
              <a:ext uri="{FF2B5EF4-FFF2-40B4-BE49-F238E27FC236}">
                <a16:creationId xmlns:a16="http://schemas.microsoft.com/office/drawing/2014/main" id="{66870D66-657B-4C29-B064-6D111D9B278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412463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4A4A5163-8919-4238-AE21-466676F7996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412463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B23C66D7-ED3C-42D3-B3C9-8743305716C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21731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0FDB8739-06BC-450A-BFE5-51B48974E38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21731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56135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311685"/>
            <a:ext cx="5881405" cy="5440017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9426" y="30458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9426" y="408728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89426" y="3949730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9426" y="293502"/>
            <a:ext cx="2219765" cy="747898"/>
          </a:xfrm>
          <a:prstGeom prst="rect">
            <a:avLst/>
          </a:prstGeom>
        </p:spPr>
      </p:pic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EC890616-D0B4-459A-A12B-D44103AE93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10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840782E-A9D0-44E0-B006-A8A2FA3F00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5E204D9-F8E5-4085-A218-F456007D1F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AAAB303-FC68-49FF-9A7A-7F40B0C5FEE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E2FFE086-A68F-4C0A-AF00-B37E571DC3B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8242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7C8C7DF4-8DC9-4BE3-95EE-D150A3F9B70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490718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CBDF5BDC-D30D-43E4-9DA2-34780763056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865766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FFAAC377-5FA3-47B1-B986-F4D30C7C32E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87640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308AA571-4496-4AAA-9582-1708F2FB81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87640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36B3CB62-E659-43A6-98D9-6E3CDC60A66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90718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17343747-28AD-4B3C-B7FD-431E1CD8D0A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490718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9B5377DC-C0C1-41FD-97C3-EDB91572B11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78241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5BC2B9C6-E6E0-43FE-99F3-7E3B3725428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78241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E5CBEA71-7EE4-410D-B1E4-3C4951E4910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868073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FF0E4811-2E25-4A2E-899C-1D2B70BD3D8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868073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740579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4FE1877-B81C-40B4-950E-51683EF38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3B68C8E-BE95-435B-9BCF-C5B64964C5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5834A435-2788-4FF5-9CB3-062A0A15D9F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4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D4FA299-9FFB-4D8C-8B47-12C204954A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4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7FA503FC-C6B9-4F06-A9FE-46E623C886A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491487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BA52CFD-D678-4050-AAD1-23D1126ECB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6067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C750792A-9334-4601-9638-C9E8B4AC04E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79779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20DD3FC-161E-40A0-84E5-A91795B785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68940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F329574A-F535-48A3-BC00-93E982AFC2F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868073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92460B5-0715-41BC-98AB-94C95FD8E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01814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AE5B96F7-2AC3-43CB-B2CE-EE3896496BF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87640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F4EDFDD6-2993-4B1B-9336-A5569F35BCDC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787640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0FD0A169-66C1-45DE-BB07-D345C422041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490718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4301FE9A-DED5-4134-81B6-694A7AD47A6A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490718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C06B4478-3204-43DA-AD9B-0437888C3968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178241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22B2012B-5DC8-4F18-84C9-AB0E632237E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178241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7C3486E4-25E7-40D0-82FB-FA741EC7D55E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868073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523EAB6C-5B20-422B-BF5F-5D228A5E534F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868073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41989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195" y="1143655"/>
            <a:ext cx="5104385" cy="4800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897" y="1149936"/>
            <a:ext cx="5323716" cy="48006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83D9C-7CA2-46E4-B74D-1ADF6E64B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A651E414-8C53-4609-8A6D-6CD3EDDCB57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87639" y="6021389"/>
            <a:ext cx="51199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2888E73-6757-4D49-9A61-04F5AC35F6E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39" y="6311902"/>
            <a:ext cx="51199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02449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7A8BC87-1CF6-429A-90DF-D73A56830F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4760" y="1143655"/>
            <a:ext cx="5104385" cy="4800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9BABE35-D148-48B4-B6A7-FF12E9E97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4" y="147136"/>
            <a:ext cx="10215686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DA9D0E70-CDC8-434C-A7E7-FFCBC925FC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195" y="1143655"/>
            <a:ext cx="5323716" cy="48006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48C383C9-A465-4BBC-8364-CF1A155E569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21301" y="6021389"/>
            <a:ext cx="5107843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A297AB8-B6FB-4E58-BCA2-47C33C67A6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21301" y="6311902"/>
            <a:ext cx="5107843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30150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ACB15E1-4165-4419-BC4A-EC47F04ACF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357C11-B94F-4AD8-B1ED-ED1F12B04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lIns="91440" rIns="91440" anchor="ctr"/>
          <a:lstStyle>
            <a:lvl1pPr>
              <a:spcBef>
                <a:spcPts val="594"/>
              </a:spcBef>
              <a:defRPr sz="2000" b="1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858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81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0" name="Picture 16">
            <a:extLst>
              <a:ext uri="{FF2B5EF4-FFF2-40B4-BE49-F238E27FC236}">
                <a16:creationId xmlns:a16="http://schemas.microsoft.com/office/drawing/2014/main" id="{F4321AAC-0719-49A2-B03E-6EB7910244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682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6A8A4E7-4433-440B-85E7-CA7B3BA3471A}"/>
              </a:ext>
            </a:extLst>
          </p:cNvPr>
          <p:cNvSpPr/>
          <p:nvPr userDrawn="1"/>
        </p:nvSpPr>
        <p:spPr>
          <a:xfrm>
            <a:off x="2" y="5687878"/>
            <a:ext cx="12315475" cy="11701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4"/>
          </a:p>
        </p:txBody>
      </p:sp>
      <p:pic>
        <p:nvPicPr>
          <p:cNvPr id="13" name="Picture 2" descr="\\SONY\Users\Nivas\Desktop\analytic-edge\logo.png">
            <a:extLst>
              <a:ext uri="{FF2B5EF4-FFF2-40B4-BE49-F238E27FC236}">
                <a16:creationId xmlns:a16="http://schemas.microsoft.com/office/drawing/2014/main" id="{E5D03F4C-8BB1-4B60-8032-C29B764900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41" y="5864466"/>
            <a:ext cx="2715609" cy="9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14998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" userDrawn="1">
  <p:cSld name="Big Stat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8"/>
          <p:cNvSpPr txBox="1">
            <a:spLocks noGrp="1"/>
          </p:cNvSpPr>
          <p:nvPr>
            <p:ph type="subTitle" idx="1"/>
          </p:nvPr>
        </p:nvSpPr>
        <p:spPr>
          <a:xfrm>
            <a:off x="466351" y="452628"/>
            <a:ext cx="5163400" cy="231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b="1" cap="all" spc="119" dirty="0">
                <a:solidFill>
                  <a:srgbClr val="344854"/>
                </a:solidFill>
                <a:latin typeface="+mn-lt"/>
              </a:defRPr>
            </a:lvl1pPr>
            <a:lvl2pPr lvl="1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lvl="2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lvl="3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lvl="4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lvl="5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lvl="6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lvl="7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lvl="8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88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>
              <a:lnSpc>
                <a:spcPct val="120000"/>
              </a:lnSpc>
              <a:spcAft>
                <a:spcPts val="0"/>
              </a:spcAft>
              <a:buNone/>
            </a:pPr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131" name="Google Shape;131;p18"/>
          <p:cNvSpPr txBox="1">
            <a:spLocks noGrp="1"/>
          </p:cNvSpPr>
          <p:nvPr>
            <p:ph type="ctrTitle"/>
          </p:nvPr>
        </p:nvSpPr>
        <p:spPr>
          <a:xfrm>
            <a:off x="935735" y="2336293"/>
            <a:ext cx="9388022" cy="1485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600"/>
              <a:buFont typeface="Optimistic Display"/>
              <a:buNone/>
              <a:defRPr sz="9504" b="1" i="0" spc="286" baseline="0">
                <a:solidFill>
                  <a:schemeClr val="tx1"/>
                </a:solidFill>
                <a:latin typeface="+mj-lt"/>
                <a:ea typeface="Optimistic Display" panose="020B0603020203020204" pitchFamily="34" charset="0"/>
                <a:cs typeface="Optimistic Display" panose="020B0603020203020204" pitchFamily="34" charset="0"/>
                <a:sym typeface="Optimistic Display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2pPr>
            <a:lvl3pPr lvl="2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3pPr>
            <a:lvl4pPr lvl="3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4pPr>
            <a:lvl5pPr lvl="4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5pPr>
            <a:lvl6pPr lvl="5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6pPr>
            <a:lvl7pPr lvl="6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7pPr>
            <a:lvl8pPr lvl="7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8pPr>
            <a:lvl9pPr lvl="8" rtl="0">
              <a:spcBef>
                <a:spcPts val="0"/>
              </a:spcBef>
              <a:spcAft>
                <a:spcPts val="0"/>
              </a:spcAft>
              <a:buSzPts val="14600"/>
              <a:buNone/>
              <a:defRPr sz="9636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33" name="Google Shape;133;p18"/>
          <p:cNvSpPr txBox="1">
            <a:spLocks noGrp="1"/>
          </p:cNvSpPr>
          <p:nvPr>
            <p:ph type="subTitle" idx="3"/>
          </p:nvPr>
        </p:nvSpPr>
        <p:spPr>
          <a:xfrm>
            <a:off x="466351" y="6126480"/>
            <a:ext cx="4694000" cy="280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91" b="0" spc="20" baseline="0">
                <a:solidFill>
                  <a:srgbClr val="1C2B33"/>
                </a:solidFill>
                <a:latin typeface="+mn-lt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24" b="0">
                <a:solidFill>
                  <a:schemeClr val="dk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32" name="Google Shape;132;p18"/>
          <p:cNvSpPr txBox="1">
            <a:spLocks noGrp="1"/>
          </p:cNvSpPr>
          <p:nvPr>
            <p:ph type="subTitle" idx="2"/>
          </p:nvPr>
        </p:nvSpPr>
        <p:spPr>
          <a:xfrm>
            <a:off x="935800" y="3611881"/>
            <a:ext cx="4693536" cy="800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rgbClr val="1C2B33"/>
                </a:solidFill>
                <a:latin typeface="+mn-lt"/>
              </a:defRPr>
            </a:lvl1pPr>
            <a:lvl2pPr lvl="1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2pPr>
            <a:lvl3pPr lvl="2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3pPr>
            <a:lvl4pPr lvl="3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4pPr>
            <a:lvl5pPr lvl="4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5pPr>
            <a:lvl6pPr lvl="5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6pPr>
            <a:lvl7pPr lvl="6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7pPr>
            <a:lvl8pPr lvl="7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8pPr>
            <a:lvl9pPr lvl="8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  <a:defRPr sz="1188" b="0">
                <a:solidFill>
                  <a:schemeClr val="dk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78527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with image (black)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9426" y="4937287"/>
            <a:ext cx="11003231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9426" y="5844494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55CD97-5577-47DD-8055-2554FB059845}"/>
              </a:ext>
            </a:extLst>
          </p:cNvPr>
          <p:cNvCxnSpPr>
            <a:cxnSpLocks/>
          </p:cNvCxnSpPr>
          <p:nvPr userDrawn="1"/>
        </p:nvCxnSpPr>
        <p:spPr>
          <a:xfrm>
            <a:off x="789426" y="5774071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A08C289-7366-436F-8CF8-F40843CA39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9426" y="293502"/>
            <a:ext cx="2219765" cy="747898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C840727-CE46-49A3-AC55-18C3C475CB7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408394"/>
            <a:ext cx="12192000" cy="3134003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BAB971E3-AA90-433B-914B-1D1DF50E21D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043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311685"/>
            <a:ext cx="5881405" cy="5440017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9426" y="30458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9426" y="408728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89426" y="3949730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9426" y="293502"/>
            <a:ext cx="2219765" cy="747898"/>
          </a:xfrm>
          <a:prstGeom prst="rect">
            <a:avLst/>
          </a:prstGeom>
        </p:spPr>
      </p:pic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EC890616-D0B4-459A-A12B-D44103AE93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205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25381"/>
            <a:ext cx="5881405" cy="6607238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460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4087483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74528" y="3949931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703"/>
            <a:ext cx="2219765" cy="747898"/>
          </a:xfrm>
          <a:prstGeom prst="rect">
            <a:avLst/>
          </a:prstGeom>
        </p:spPr>
      </p:pic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CD3551FC-5F5A-4CFA-9AA0-384B2C54BC4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74529" y="5710630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906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25381"/>
            <a:ext cx="5881405" cy="6607238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460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4087483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74528" y="3949931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703"/>
            <a:ext cx="2219765" cy="747898"/>
          </a:xfrm>
          <a:prstGeom prst="rect">
            <a:avLst/>
          </a:prstGeom>
        </p:spPr>
      </p:pic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CD3551FC-5F5A-4CFA-9AA0-384B2C54BC4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74529" y="5710630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73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4017368"/>
            <a:ext cx="11003230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505883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19765" cy="74789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D8F2D4-A66A-4620-9307-3A6822381FC0}"/>
              </a:ext>
            </a:extLst>
          </p:cNvPr>
          <p:cNvCxnSpPr>
            <a:cxnSpLocks/>
          </p:cNvCxnSpPr>
          <p:nvPr userDrawn="1"/>
        </p:nvCxnSpPr>
        <p:spPr>
          <a:xfrm>
            <a:off x="774529" y="4921280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051B3B4E-29B2-4BD6-9E25-FBE50BE6C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50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7863EDD-B693-47ED-BD96-EA61204793CA}"/>
              </a:ext>
            </a:extLst>
          </p:cNvPr>
          <p:cNvSpPr/>
          <p:nvPr userDrawn="1"/>
        </p:nvSpPr>
        <p:spPr>
          <a:xfrm>
            <a:off x="0" y="1"/>
            <a:ext cx="619141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6827AF2A-C6F6-44CB-9268-337ABFE038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38961"/>
            <a:ext cx="506444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E6AA64-E08E-42A2-97F7-59263D53F327}"/>
              </a:ext>
            </a:extLst>
          </p:cNvPr>
          <p:cNvSpPr/>
          <p:nvPr userDrawn="1"/>
        </p:nvSpPr>
        <p:spPr>
          <a:xfrm>
            <a:off x="774529" y="3810000"/>
            <a:ext cx="2032053" cy="9144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638EDF1-4AAF-4DBE-959A-5EA3ECD4CC6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-1"/>
            <a:ext cx="6000587" cy="6858001"/>
          </a:xfrm>
        </p:spPr>
        <p:txBody>
          <a:bodyPr anchor="t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507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black)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774529" y="2439000"/>
            <a:ext cx="9595011" cy="1980000"/>
          </a:xfrm>
          <a:prstGeom prst="rect">
            <a:avLst/>
          </a:prstGeom>
        </p:spPr>
        <p:txBody>
          <a:bodyPr anchor="ctr"/>
          <a:lstStyle>
            <a:lvl1pPr marL="628650" indent="0" algn="l">
              <a:spcBef>
                <a:spcPts val="198"/>
              </a:spcBef>
              <a:defRPr sz="5400" b="1">
                <a:solidFill>
                  <a:schemeClr val="accent1"/>
                </a:solidFill>
              </a:defRPr>
            </a:lvl1pPr>
            <a:lvl2pPr marL="0" indent="0" algn="l">
              <a:spcBef>
                <a:spcPts val="198"/>
              </a:spcBef>
              <a:buNone/>
              <a:defRPr sz="2178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2" name="L-Shape 1">
            <a:extLst>
              <a:ext uri="{FF2B5EF4-FFF2-40B4-BE49-F238E27FC236}">
                <a16:creationId xmlns:a16="http://schemas.microsoft.com/office/drawing/2014/main" id="{2E205DDC-D4E4-4ABA-96D8-AFECE4228CF7}"/>
              </a:ext>
            </a:extLst>
          </p:cNvPr>
          <p:cNvSpPr/>
          <p:nvPr userDrawn="1"/>
        </p:nvSpPr>
        <p:spPr bwMode="ltGray">
          <a:xfrm>
            <a:off x="774529" y="2439000"/>
            <a:ext cx="1121707" cy="1980000"/>
          </a:xfrm>
          <a:prstGeom prst="corner">
            <a:avLst>
              <a:gd name="adj1" fmla="val 13974"/>
              <a:gd name="adj2" fmla="val 1740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84C8B8-4624-4893-B407-6C57231BC2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396" y="65799"/>
            <a:ext cx="1039117" cy="102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56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4937287"/>
            <a:ext cx="11003231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5844494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55CD97-5577-47DD-8055-2554FB059845}"/>
              </a:ext>
            </a:extLst>
          </p:cNvPr>
          <p:cNvCxnSpPr>
            <a:cxnSpLocks/>
          </p:cNvCxnSpPr>
          <p:nvPr userDrawn="1"/>
        </p:nvCxnSpPr>
        <p:spPr>
          <a:xfrm>
            <a:off x="774529" y="5774071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C840727-CE46-49A3-AC55-18C3C475CB7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408394"/>
            <a:ext cx="12192000" cy="3134003"/>
          </a:xfrm>
        </p:spPr>
        <p:txBody>
          <a:bodyPr anchor="t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B6B0EB-3022-4D44-9A7C-A734F39E8C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933E343-6919-4A7C-B482-5AD501288E7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314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311685"/>
            <a:ext cx="5881405" cy="5440017"/>
          </a:xfrm>
        </p:spPr>
        <p:txBody>
          <a:bodyPr anchor="t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458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408728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74528" y="3949730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D7147C7-CBC3-44AE-8C01-9373901B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E9AF99C-CAEF-4776-914A-18778C1823C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89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25381"/>
            <a:ext cx="5881405" cy="6607238"/>
          </a:xfrm>
        </p:spPr>
        <p:txBody>
          <a:bodyPr anchor="t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458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408728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74528" y="3949730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19765" cy="747898"/>
          </a:xfrm>
          <a:prstGeom prst="rect">
            <a:avLst/>
          </a:prstGeom>
        </p:spPr>
      </p:pic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EF9214D-E90B-496B-9D09-726FC6A50E7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74529" y="5710429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CCF062-5956-4CFE-8DDA-16E6588B9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6BBB8EF-54B2-4136-AB17-4F91899E7C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-1749905"/>
            <a:ext cx="2219765" cy="74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9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4017368"/>
            <a:ext cx="11003231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505883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D8F2D4-A66A-4620-9307-3A6822381FC0}"/>
              </a:ext>
            </a:extLst>
          </p:cNvPr>
          <p:cNvCxnSpPr>
            <a:cxnSpLocks/>
          </p:cNvCxnSpPr>
          <p:nvPr userDrawn="1"/>
        </p:nvCxnSpPr>
        <p:spPr>
          <a:xfrm>
            <a:off x="774529" y="4921280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051B3B4E-29B2-4BD6-9E25-FBE50BE6C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CADC5D-D97C-4D08-B48C-24C8B8EDAB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8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6827AF2A-C6F6-44CB-9268-337ABFE038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38961"/>
            <a:ext cx="506444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E6AA64-E08E-42A2-97F7-59263D53F327}"/>
              </a:ext>
            </a:extLst>
          </p:cNvPr>
          <p:cNvSpPr/>
          <p:nvPr userDrawn="1"/>
        </p:nvSpPr>
        <p:spPr>
          <a:xfrm>
            <a:off x="774529" y="3810000"/>
            <a:ext cx="2032053" cy="9144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638EDF1-4AAF-4DBE-959A-5EA3ECD4CC6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-1"/>
            <a:ext cx="6000587" cy="685800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921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774529" y="2439000"/>
            <a:ext cx="9595011" cy="1980000"/>
          </a:xfrm>
          <a:prstGeom prst="rect">
            <a:avLst/>
          </a:prstGeom>
        </p:spPr>
        <p:txBody>
          <a:bodyPr anchor="ctr"/>
          <a:lstStyle>
            <a:lvl1pPr marL="628650" indent="0" algn="l">
              <a:spcBef>
                <a:spcPts val="198"/>
              </a:spcBef>
              <a:defRPr sz="5400" b="1">
                <a:solidFill>
                  <a:schemeClr val="accent1"/>
                </a:solidFill>
              </a:defRPr>
            </a:lvl1pPr>
            <a:lvl2pPr marL="0" indent="0" algn="l">
              <a:spcBef>
                <a:spcPts val="198"/>
              </a:spcBef>
              <a:buNone/>
              <a:defRPr sz="2178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2" name="L-Shape 1">
            <a:extLst>
              <a:ext uri="{FF2B5EF4-FFF2-40B4-BE49-F238E27FC236}">
                <a16:creationId xmlns:a16="http://schemas.microsoft.com/office/drawing/2014/main" id="{2E205DDC-D4E4-4ABA-96D8-AFECE4228CF7}"/>
              </a:ext>
            </a:extLst>
          </p:cNvPr>
          <p:cNvSpPr/>
          <p:nvPr userDrawn="1"/>
        </p:nvSpPr>
        <p:spPr bwMode="ltGray">
          <a:xfrm>
            <a:off x="774529" y="2439000"/>
            <a:ext cx="1121707" cy="1980000"/>
          </a:xfrm>
          <a:prstGeom prst="corner">
            <a:avLst>
              <a:gd name="adj1" fmla="val 13974"/>
              <a:gd name="adj2" fmla="val 1740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1F03530-389F-40CC-B262-3C61111018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396" y="61225"/>
            <a:ext cx="1043737" cy="103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16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4017368"/>
            <a:ext cx="11003230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505883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19765" cy="74789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8D8F2D4-A66A-4620-9307-3A6822381FC0}"/>
              </a:ext>
            </a:extLst>
          </p:cNvPr>
          <p:cNvCxnSpPr>
            <a:cxnSpLocks/>
          </p:cNvCxnSpPr>
          <p:nvPr userDrawn="1"/>
        </p:nvCxnSpPr>
        <p:spPr>
          <a:xfrm>
            <a:off x="774529" y="4921280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051B3B4E-29B2-4BD6-9E25-FBE50BE6C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99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nalytic Edge Proprietary and Confidentia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09628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500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7640" y="1569036"/>
            <a:ext cx="1062341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3BAA4A6-07CF-43B8-B2EE-4F2BC4F7917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87640" y="6021389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A75651F7-9FE4-4CA6-BB6F-3D99DE57C4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0" y="6311902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35758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62C173C-81B4-41BF-8528-F6F84B0B1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BB25D8C-DBED-47E2-A369-32F0C5CFEA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537924A5-4EAA-48C4-AFDD-6D802C66823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7640" y="2056565"/>
            <a:ext cx="1062341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26C9ACE-2A28-4CB6-819F-C34D2DC151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195" y="1554867"/>
            <a:ext cx="10623418" cy="396000"/>
          </a:xfrm>
        </p:spPr>
        <p:txBody>
          <a:bodyPr lIns="91440" rIns="91440" anchor="ctr"/>
          <a:lstStyle>
            <a:lvl1pPr>
              <a:spcBef>
                <a:spcPts val="594"/>
              </a:spcBef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22839E71-8B29-4845-841A-8215AD2B404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0" y="6021389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D23D871F-19A0-4328-99B1-9AA54747D6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0" y="6311902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06270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16C444-2BA2-4764-8AE2-C17820608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5E2A09C-A6A8-4796-A0A2-266CE749A3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1872F07C-203B-4855-84E3-3DDE299976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1569036"/>
            <a:ext cx="5248693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9739E1D5-3F34-4794-886B-8AB953C967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7920" y="1569036"/>
            <a:ext cx="5248693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D556FB6-F332-4AE1-BF35-5A31A3A2333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1" y="6021389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4D37EBEE-7C34-4410-B7C7-6B333D1F6D0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1" y="6311902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89A28B6E-B27B-46B6-BEA2-C5FA786351E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77920" y="6021389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4E78A103-ED29-43DA-97BD-C868F82A14E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77920" y="6311902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9584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04D195-3AEA-4801-A2B7-CF37B2165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CB1F3DC-1280-4947-96C8-214A791F48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01737EF-EBC2-4A2F-9AC9-30FAC42F6A5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2056563"/>
            <a:ext cx="5248693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242FAF92-B60B-4F51-93E4-094BD671B88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7920" y="2056563"/>
            <a:ext cx="5248693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15FE6E0-4F61-4929-8A91-41620FC82B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5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54DAFB3-3E7A-4450-BFE3-52150EEEF3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7919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BED078F5-54AA-4FD8-9B1D-DE55073225F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87641" y="6021389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3B602BC4-5A10-4A53-81B8-71A8C8EC041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1" y="6311902"/>
            <a:ext cx="526424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28C0276D-354C-4408-A297-9580BB20BF7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77920" y="6021389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9CF535B3-A63C-4F4E-977A-F7425CC232E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177920" y="6311902"/>
            <a:ext cx="5248694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29536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2AAC361-FA0D-4473-A315-D41BA999E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0D19965-DF5F-4338-BCE1-6F49AFF4DD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0DFA10CF-57DD-4208-8F4B-91C3F2AE026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205656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74EFA145-CD25-4D81-9CC3-03C16543B03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7920" y="205656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6151B0F3-F678-4CE0-BC11-9BCF4FE335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5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4C8A08-860A-4514-BBC2-6D27C8DA48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0221" y="155486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9128C202-628C-45D2-ADFA-C4D66D6F1D8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3195" y="456979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A07649F6-F4C6-45F0-91F0-038B4A21608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77920" y="4569796"/>
            <a:ext cx="5248693" cy="19058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9911366D-2E08-479B-A541-2D2A915291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3195" y="406809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1CCD7537-018D-46B2-968A-5F70B2729E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0221" y="4068097"/>
            <a:ext cx="5246392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96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DD0F29-8EC9-4D9C-9A9D-D60E858F22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ACA0395-730C-4FA7-93FD-9F2047EA3D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89B8612A-D878-4D0E-952F-2EFF10E7FC5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6" y="1569036"/>
            <a:ext cx="3404882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ECE0C705-512A-49B8-8422-EAD7A07AC19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21732" y="1569036"/>
            <a:ext cx="3404882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FF1752D9-AA4A-4BA1-B346-812AFFDCF7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12464" y="1569036"/>
            <a:ext cx="3404882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7B639473-286C-400F-BCCB-B253891E0B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7640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952E3ACC-4192-4886-B428-C44875E4653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87640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8144533C-8F67-4D1B-9A0B-105FFF25DD9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12463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4C6F6055-539D-4394-A92F-023ACA5FB03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12463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AC1FFB81-F1E6-4F80-8E05-EC33D20D915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021731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950440D4-3E12-4B06-930E-78E6D580F28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021731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66556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2FDA6AC-2E17-438C-AFBD-5A4CDF9619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971F930-67C4-4AD7-A96A-B4D2895303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467ACA4B-043D-4CAF-BE29-00D402766E8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4" y="2056564"/>
            <a:ext cx="340830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A92CB1C-76F0-443E-B130-834818686A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4" y="1554867"/>
            <a:ext cx="340830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E9392C68-7D57-4F7D-8A09-78705FAD3FD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10749" y="2056564"/>
            <a:ext cx="340830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35BF050-5304-4F33-A88D-4592BC7437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0749" y="1554867"/>
            <a:ext cx="340830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5767149E-B5C3-4D8F-994F-979BBB0AA45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18305" y="2056564"/>
            <a:ext cx="3408308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EDC8695-8782-452B-9779-95592E9C91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18305" y="1554867"/>
            <a:ext cx="340830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C69E5AF9-0593-4CB8-8D4B-97000FDE41B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87640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9231644E-C1E9-4B37-8D28-A1383D569DD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787640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8" name="Content Placeholder 9">
            <a:extLst>
              <a:ext uri="{FF2B5EF4-FFF2-40B4-BE49-F238E27FC236}">
                <a16:creationId xmlns:a16="http://schemas.microsoft.com/office/drawing/2014/main" id="{66870D66-657B-4C29-B064-6D111D9B2782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412463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4A4A5163-8919-4238-AE21-466676F7996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412463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B23C66D7-ED3C-42D3-B3C9-8743305716C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21731" y="6021389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0FDB8739-06BC-450A-BFE5-51B48974E38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21731" y="6311902"/>
            <a:ext cx="340830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21394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840782E-A9D0-44E0-B006-A8A2FA3F00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5E204D9-F8E5-4085-A218-F456007D1F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7AAAB303-FC68-49FF-9A7A-7F40B0C5FEE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5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E2FFE086-A68F-4C0A-AF00-B37E571DC3B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8242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7C8C7DF4-8DC9-4BE3-95EE-D150A3F9B70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490718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CBDF5BDC-D30D-43E4-9DA2-34780763056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865766" y="1569036"/>
            <a:ext cx="256084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FFAAC377-5FA3-47B1-B986-F4D30C7C32E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87640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308AA571-4496-4AAA-9582-1708F2FB81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87640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36B3CB62-E659-43A6-98D9-6E3CDC60A66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90718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17343747-28AD-4B3C-B7FD-431E1CD8D0A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490718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9B5377DC-C0C1-41FD-97C3-EDB91572B11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78241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5BC2B9C6-E6E0-43FE-99F3-7E3B3725428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78241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E5CBEA71-7EE4-410D-B1E4-3C4951E4910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868073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FF0E4811-2E25-4A2E-899C-1D2B70BD3D8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868073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06592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4FE1877-B81C-40B4-950E-51683EF38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3B68C8E-BE95-435B-9BCF-C5B64964C5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5834A435-2788-4FF5-9CB3-062A0A15D9F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194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D4FA299-9FFB-4D8C-8B47-12C204954A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194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7FA503FC-C6B9-4F06-A9FE-46E623C886A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491487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BA52CFD-D678-4050-AAD1-23D1126ECB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6067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C750792A-9334-4601-9638-C9E8B4AC04E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79779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20DD3FC-161E-40A0-84E5-A91795B785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68940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F329574A-F535-48A3-BC00-93E982AFC2F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868073" y="2056564"/>
            <a:ext cx="2558540" cy="389534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92460B5-0715-41BC-98AB-94C95FD8E6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01814" y="1554867"/>
            <a:ext cx="2724799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sz="16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594"/>
              </a:spcBef>
            </a:pPr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AE5B96F7-2AC3-43CB-B2CE-EE3896496BF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87640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F4EDFDD6-2993-4B1B-9336-A5569F35BCDC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787640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0FD0A169-66C1-45DE-BB07-D345C422041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490718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4301FE9A-DED5-4134-81B6-694A7AD47A6A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490718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C06B4478-3204-43DA-AD9B-0437888C3968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178241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22B2012B-5DC8-4F18-84C9-AB0E632237E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178241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7C3486E4-25E7-40D0-82FB-FA741EC7D55E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868073" y="6021389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523EAB6C-5B20-422B-BF5F-5D228A5E534F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868073" y="6311902"/>
            <a:ext cx="25585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45000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195" y="1143655"/>
            <a:ext cx="5104385" cy="4800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897" y="1149936"/>
            <a:ext cx="5323716" cy="48006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883D9C-7CA2-46E4-B74D-1ADF6E64B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A651E414-8C53-4609-8A6D-6CD3EDDCB57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87639" y="6021389"/>
            <a:ext cx="51199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2888E73-6757-4D49-9A61-04F5AC35F6E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39" y="6311902"/>
            <a:ext cx="5119940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69011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7863EDD-B693-47ED-BD96-EA61204793CA}"/>
              </a:ext>
            </a:extLst>
          </p:cNvPr>
          <p:cNvSpPr/>
          <p:nvPr userDrawn="1"/>
        </p:nvSpPr>
        <p:spPr>
          <a:xfrm>
            <a:off x="0" y="1"/>
            <a:ext cx="6191413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6827AF2A-C6F6-44CB-9268-337ABFE038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38961"/>
            <a:ext cx="506444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tion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E6AA64-E08E-42A2-97F7-59263D53F327}"/>
              </a:ext>
            </a:extLst>
          </p:cNvPr>
          <p:cNvSpPr/>
          <p:nvPr userDrawn="1"/>
        </p:nvSpPr>
        <p:spPr>
          <a:xfrm>
            <a:off x="774529" y="3810000"/>
            <a:ext cx="2032053" cy="9144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638EDF1-4AAF-4DBE-959A-5EA3ECD4CC6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-1"/>
            <a:ext cx="6000587" cy="6858001"/>
          </a:xfrm>
        </p:spPr>
        <p:txBody>
          <a:bodyPr anchor="t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180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7A8BC87-1CF6-429A-90DF-D73A56830F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4760" y="1143655"/>
            <a:ext cx="5104385" cy="4800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9BABE35-D148-48B4-B6A7-FF12E9E97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4" y="147136"/>
            <a:ext cx="10215686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DA9D0E70-CDC8-434C-A7E7-FFCBC925FC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195" y="1143655"/>
            <a:ext cx="5323716" cy="48006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48C383C9-A465-4BBC-8364-CF1A155E569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21301" y="6021389"/>
            <a:ext cx="5107843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Notes: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A297AB8-B6FB-4E58-BCA2-47C33C67A6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21301" y="6311902"/>
            <a:ext cx="5107843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76945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ACB15E1-4165-4419-BC4A-EC47F04ACF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357C11-B94F-4AD8-B1ED-ED1F12B04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lIns="91440" rIns="91440" anchor="ctr"/>
          <a:lstStyle>
            <a:lvl1pPr>
              <a:spcBef>
                <a:spcPts val="594"/>
              </a:spcBef>
              <a:defRPr sz="2000" b="1"/>
            </a:lvl1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864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3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4">
            <a:extLst>
              <a:ext uri="{FF2B5EF4-FFF2-40B4-BE49-F238E27FC236}">
                <a16:creationId xmlns:a16="http://schemas.microsoft.com/office/drawing/2014/main" id="{58DE7772-32DC-4637-9B61-641B6899699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3"/>
          <a:stretch/>
        </p:blipFill>
        <p:spPr bwMode="auto">
          <a:xfrm>
            <a:off x="1" y="-18752"/>
            <a:ext cx="12191996" cy="50212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6C255E8-2112-4E41-8504-1B3152B2BE85}"/>
              </a:ext>
            </a:extLst>
          </p:cNvPr>
          <p:cNvSpPr/>
          <p:nvPr userDrawn="1"/>
        </p:nvSpPr>
        <p:spPr>
          <a:xfrm>
            <a:off x="0" y="4169044"/>
            <a:ext cx="12191996" cy="26850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CD13FF7-09D9-46A4-9603-15B87951D0AC}"/>
              </a:ext>
            </a:extLst>
          </p:cNvPr>
          <p:cNvSpPr/>
          <p:nvPr userDrawn="1"/>
        </p:nvSpPr>
        <p:spPr>
          <a:xfrm>
            <a:off x="6047804" y="6021955"/>
            <a:ext cx="6144193" cy="836047"/>
          </a:xfrm>
          <a:custGeom>
            <a:avLst/>
            <a:gdLst>
              <a:gd name="connsiteX0" fmla="*/ 0 w 6204832"/>
              <a:gd name="connsiteY0" fmla="*/ 0 h 836047"/>
              <a:gd name="connsiteX1" fmla="*/ 304730 w 6204832"/>
              <a:gd name="connsiteY1" fmla="*/ 38149 h 836047"/>
              <a:gd name="connsiteX2" fmla="*/ 3397819 w 6204832"/>
              <a:gd name="connsiteY2" fmla="*/ 210757 h 836047"/>
              <a:gd name="connsiteX3" fmla="*/ 5889052 w 6204832"/>
              <a:gd name="connsiteY3" fmla="*/ 99488 h 836047"/>
              <a:gd name="connsiteX4" fmla="*/ 6204832 w 6204832"/>
              <a:gd name="connsiteY4" fmla="*/ 63660 h 836047"/>
              <a:gd name="connsiteX5" fmla="*/ 6204832 w 6204832"/>
              <a:gd name="connsiteY5" fmla="*/ 741992 h 836047"/>
              <a:gd name="connsiteX6" fmla="*/ 6204831 w 6204832"/>
              <a:gd name="connsiteY6" fmla="*/ 741992 h 836047"/>
              <a:gd name="connsiteX7" fmla="*/ 6204831 w 6204832"/>
              <a:gd name="connsiteY7" fmla="*/ 836047 h 836047"/>
              <a:gd name="connsiteX8" fmla="*/ 2954095 w 6204832"/>
              <a:gd name="connsiteY8" fmla="*/ 836047 h 836047"/>
              <a:gd name="connsiteX9" fmla="*/ 2930417 w 6204832"/>
              <a:gd name="connsiteY9" fmla="*/ 833175 h 836047"/>
              <a:gd name="connsiteX10" fmla="*/ 165022 w 6204832"/>
              <a:gd name="connsiteY10" fmla="*/ 73132 h 83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04832" h="836047">
                <a:moveTo>
                  <a:pt x="0" y="0"/>
                </a:moveTo>
                <a:lnTo>
                  <a:pt x="304730" y="38149"/>
                </a:lnTo>
                <a:cubicBezTo>
                  <a:pt x="1300024" y="151139"/>
                  <a:pt x="2335168" y="210757"/>
                  <a:pt x="3397819" y="210757"/>
                </a:cubicBezTo>
                <a:cubicBezTo>
                  <a:pt x="4247941" y="210757"/>
                  <a:pt x="5080458" y="172602"/>
                  <a:pt x="5889052" y="99488"/>
                </a:cubicBezTo>
                <a:lnTo>
                  <a:pt x="6204832" y="63660"/>
                </a:lnTo>
                <a:lnTo>
                  <a:pt x="6204832" y="741992"/>
                </a:lnTo>
                <a:lnTo>
                  <a:pt x="6204831" y="741992"/>
                </a:lnTo>
                <a:lnTo>
                  <a:pt x="6204831" y="836047"/>
                </a:lnTo>
                <a:lnTo>
                  <a:pt x="2954095" y="836047"/>
                </a:lnTo>
                <a:lnTo>
                  <a:pt x="2930417" y="833175"/>
                </a:lnTo>
                <a:cubicBezTo>
                  <a:pt x="1933531" y="687458"/>
                  <a:pt x="1000874" y="426847"/>
                  <a:pt x="165022" y="73132"/>
                </a:cubicBezTo>
                <a:close/>
              </a:path>
            </a:pathLst>
          </a:custGeom>
          <a:solidFill>
            <a:srgbClr val="0483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E4ECDC2-EA81-4490-9664-08AEB3005873}"/>
              </a:ext>
            </a:extLst>
          </p:cNvPr>
          <p:cNvSpPr/>
          <p:nvPr userDrawn="1"/>
        </p:nvSpPr>
        <p:spPr>
          <a:xfrm>
            <a:off x="0" y="2240554"/>
            <a:ext cx="12191996" cy="3861530"/>
          </a:xfrm>
          <a:custGeom>
            <a:avLst/>
            <a:gdLst>
              <a:gd name="connsiteX0" fmla="*/ 4072878 w 4072878"/>
              <a:gd name="connsiteY0" fmla="*/ 0 h 2548371"/>
              <a:gd name="connsiteX1" fmla="*/ 4072878 w 4072878"/>
              <a:gd name="connsiteY1" fmla="*/ 2451296 h 2548371"/>
              <a:gd name="connsiteX2" fmla="*/ 3967388 w 4072878"/>
              <a:gd name="connsiteY2" fmla="*/ 2474940 h 2548371"/>
              <a:gd name="connsiteX3" fmla="*/ 3135163 w 4072878"/>
              <a:gd name="connsiteY3" fmla="*/ 2548371 h 2548371"/>
              <a:gd name="connsiteX4" fmla="*/ 144639 w 4072878"/>
              <a:gd name="connsiteY4" fmla="*/ 1474801 h 2548371"/>
              <a:gd name="connsiteX5" fmla="*/ 0 w 4072878"/>
              <a:gd name="connsiteY5" fmla="*/ 1349511 h 2548371"/>
              <a:gd name="connsiteX6" fmla="*/ 7645 w 4072878"/>
              <a:gd name="connsiteY6" fmla="*/ 1350876 h 2548371"/>
              <a:gd name="connsiteX7" fmla="*/ 723622 w 4072878"/>
              <a:gd name="connsiteY7" fmla="*/ 1405047 h 2548371"/>
              <a:gd name="connsiteX8" fmla="*/ 3884734 w 4072878"/>
              <a:gd name="connsiteY8" fmla="*/ 183710 h 254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72878" h="2548371">
                <a:moveTo>
                  <a:pt x="4072878" y="0"/>
                </a:moveTo>
                <a:lnTo>
                  <a:pt x="4072878" y="2451296"/>
                </a:lnTo>
                <a:lnTo>
                  <a:pt x="3967388" y="2474940"/>
                </a:lnTo>
                <a:cubicBezTo>
                  <a:pt x="3697268" y="2523191"/>
                  <a:pt x="3419156" y="2548371"/>
                  <a:pt x="3135163" y="2548371"/>
                </a:cubicBezTo>
                <a:cubicBezTo>
                  <a:pt x="1999192" y="2548371"/>
                  <a:pt x="957318" y="2145483"/>
                  <a:pt x="144639" y="1474801"/>
                </a:cubicBezTo>
                <a:lnTo>
                  <a:pt x="0" y="1349511"/>
                </a:lnTo>
                <a:lnTo>
                  <a:pt x="7645" y="1350876"/>
                </a:lnTo>
                <a:cubicBezTo>
                  <a:pt x="241098" y="1386547"/>
                  <a:pt x="480200" y="1405047"/>
                  <a:pt x="723622" y="1405047"/>
                </a:cubicBezTo>
                <a:cubicBezTo>
                  <a:pt x="1940736" y="1405047"/>
                  <a:pt x="3049826" y="942548"/>
                  <a:pt x="3884734" y="183710"/>
                </a:cubicBezTo>
                <a:close/>
              </a:path>
            </a:pathLst>
          </a:custGeom>
          <a:solidFill>
            <a:srgbClr val="3156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38853B0-64FD-4D3D-8148-45D5FFEB8633}"/>
              </a:ext>
            </a:extLst>
          </p:cNvPr>
          <p:cNvSpPr/>
          <p:nvPr userDrawn="1"/>
        </p:nvSpPr>
        <p:spPr>
          <a:xfrm>
            <a:off x="4" y="2802836"/>
            <a:ext cx="4440453" cy="1439984"/>
          </a:xfrm>
          <a:custGeom>
            <a:avLst/>
            <a:gdLst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8" fmla="*/ 0 w 1467716"/>
              <a:gd name="connsiteY8" fmla="*/ 0 h 943303"/>
              <a:gd name="connsiteX0" fmla="*/ 0 w 1468512"/>
              <a:gd name="connsiteY0" fmla="*/ 0 h 943303"/>
              <a:gd name="connsiteX1" fmla="*/ 167092 w 1468512"/>
              <a:gd name="connsiteY1" fmla="*/ 151863 h 943303"/>
              <a:gd name="connsiteX2" fmla="*/ 1402948 w 1468512"/>
              <a:gd name="connsiteY2" fmla="*/ 860884 h 943303"/>
              <a:gd name="connsiteX3" fmla="*/ 1468512 w 1468512"/>
              <a:gd name="connsiteY3" fmla="*/ 884359 h 943303"/>
              <a:gd name="connsiteX4" fmla="*/ 1426853 w 1468512"/>
              <a:gd name="connsiteY4" fmla="*/ 890097 h 943303"/>
              <a:gd name="connsiteX5" fmla="*/ 723619 w 1468512"/>
              <a:gd name="connsiteY5" fmla="*/ 943303 h 943303"/>
              <a:gd name="connsiteX6" fmla="*/ 20386 w 1468512"/>
              <a:gd name="connsiteY6" fmla="*/ 890097 h 943303"/>
              <a:gd name="connsiteX7" fmla="*/ 0 w 1468512"/>
              <a:gd name="connsiteY7" fmla="*/ 886456 h 943303"/>
              <a:gd name="connsiteX8" fmla="*/ 0 w 1468512"/>
              <a:gd name="connsiteY8" fmla="*/ 0 h 943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512" h="943303">
                <a:moveTo>
                  <a:pt x="0" y="0"/>
                </a:moveTo>
                <a:lnTo>
                  <a:pt x="167092" y="151863"/>
                </a:lnTo>
                <a:cubicBezTo>
                  <a:pt x="532570" y="453482"/>
                  <a:pt x="949585" y="694885"/>
                  <a:pt x="1402948" y="860884"/>
                </a:cubicBezTo>
                <a:lnTo>
                  <a:pt x="1468512" y="884359"/>
                </a:lnTo>
                <a:lnTo>
                  <a:pt x="1426853" y="890097"/>
                </a:lnTo>
                <a:cubicBezTo>
                  <a:pt x="1197556" y="925132"/>
                  <a:pt x="962710" y="943303"/>
                  <a:pt x="723619" y="943303"/>
                </a:cubicBezTo>
                <a:cubicBezTo>
                  <a:pt x="484529" y="943303"/>
                  <a:pt x="249683" y="925132"/>
                  <a:pt x="20386" y="890097"/>
                </a:cubicBezTo>
                <a:lnTo>
                  <a:pt x="0" y="886456"/>
                </a:lnTo>
                <a:lnTo>
                  <a:pt x="0" y="0"/>
                </a:lnTo>
                <a:close/>
              </a:path>
            </a:pathLst>
          </a:custGeom>
          <a:solidFill>
            <a:srgbClr val="3FB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AA7F7CAF-AFE9-445C-8DE3-B0905EBB87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9177" y="5877323"/>
            <a:ext cx="2617038" cy="8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2945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(black)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774529" y="2439000"/>
            <a:ext cx="9595011" cy="1980000"/>
          </a:xfrm>
          <a:prstGeom prst="rect">
            <a:avLst/>
          </a:prstGeom>
        </p:spPr>
        <p:txBody>
          <a:bodyPr anchor="ctr"/>
          <a:lstStyle>
            <a:lvl1pPr marL="628650" indent="0" algn="l">
              <a:spcBef>
                <a:spcPts val="198"/>
              </a:spcBef>
              <a:defRPr sz="5400" b="1">
                <a:solidFill>
                  <a:schemeClr val="accent1"/>
                </a:solidFill>
              </a:defRPr>
            </a:lvl1pPr>
            <a:lvl2pPr marL="0" indent="0" algn="l">
              <a:spcBef>
                <a:spcPts val="198"/>
              </a:spcBef>
              <a:buNone/>
              <a:defRPr sz="2178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2" name="L-Shape 1">
            <a:extLst>
              <a:ext uri="{FF2B5EF4-FFF2-40B4-BE49-F238E27FC236}">
                <a16:creationId xmlns:a16="http://schemas.microsoft.com/office/drawing/2014/main" id="{2E205DDC-D4E4-4ABA-96D8-AFECE4228CF7}"/>
              </a:ext>
            </a:extLst>
          </p:cNvPr>
          <p:cNvSpPr/>
          <p:nvPr userDrawn="1"/>
        </p:nvSpPr>
        <p:spPr bwMode="ltGray">
          <a:xfrm>
            <a:off x="774529" y="2439000"/>
            <a:ext cx="1121707" cy="1980000"/>
          </a:xfrm>
          <a:prstGeom prst="corner">
            <a:avLst>
              <a:gd name="adj1" fmla="val 13974"/>
              <a:gd name="adj2" fmla="val 1740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84C8B8-4624-4893-B407-6C57231BC2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3396" y="65799"/>
            <a:ext cx="1039117" cy="102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58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4937287"/>
            <a:ext cx="11003231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5844494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55CD97-5577-47DD-8055-2554FB059845}"/>
              </a:ext>
            </a:extLst>
          </p:cNvPr>
          <p:cNvCxnSpPr>
            <a:cxnSpLocks/>
          </p:cNvCxnSpPr>
          <p:nvPr userDrawn="1"/>
        </p:nvCxnSpPr>
        <p:spPr>
          <a:xfrm>
            <a:off x="774529" y="5774071"/>
            <a:ext cx="1100323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C840727-CE46-49A3-AC55-18C3C475CB7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408394"/>
            <a:ext cx="12192000" cy="3134003"/>
          </a:xfrm>
        </p:spPr>
        <p:txBody>
          <a:bodyPr anchor="t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B6B0EB-3022-4D44-9A7C-A734F39E8C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933E343-6919-4A7C-B482-5AD501288E7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68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42A9A0D-715A-49A0-9A82-B82E1E9B3483}"/>
              </a:ext>
            </a:extLst>
          </p:cNvPr>
          <p:cNvSpPr/>
          <p:nvPr userDrawn="1"/>
        </p:nvSpPr>
        <p:spPr bwMode="ltGray">
          <a:xfrm>
            <a:off x="1" y="0"/>
            <a:ext cx="12191999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IN" sz="1600" b="0" dirty="0" err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311685"/>
            <a:ext cx="5881405" cy="5440017"/>
          </a:xfrm>
        </p:spPr>
        <p:txBody>
          <a:bodyPr anchor="t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458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408728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74528" y="3949730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D7147C7-CBC3-44AE-8C01-9373901B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E9AF99C-CAEF-4776-914A-18778C1823C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88975" y="273304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55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 with image (blac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0099FF3-3007-4F9A-868F-7F9A54CEDE3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1414" y="125381"/>
            <a:ext cx="5881405" cy="6607238"/>
          </a:xfrm>
        </p:spPr>
        <p:txBody>
          <a:bodyPr anchor="t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FFF2526-D613-42A3-802A-131025ACAD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4529" y="3045818"/>
            <a:ext cx="5385733" cy="7663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D248AFE-52B2-4093-A76B-9630A0729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528" y="4087282"/>
            <a:ext cx="3520800" cy="514487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 algn="l">
              <a:spcBef>
                <a:spcPts val="594"/>
              </a:spcBef>
              <a:buNone/>
              <a:defRPr sz="2000" b="0">
                <a:solidFill>
                  <a:schemeClr val="bg1">
                    <a:lumMod val="50000"/>
                  </a:schemeClr>
                </a:solidFill>
              </a:defRPr>
            </a:lvl1pPr>
            <a:lvl2pPr marL="452628" indent="0" algn="ctr">
              <a:buNone/>
              <a:defRPr sz="1980"/>
            </a:lvl2pPr>
            <a:lvl3pPr marL="905256" indent="0" algn="ctr">
              <a:buNone/>
              <a:defRPr sz="1782"/>
            </a:lvl3pPr>
            <a:lvl4pPr marL="1357884" indent="0" algn="ctr">
              <a:buNone/>
              <a:defRPr sz="1584"/>
            </a:lvl4pPr>
            <a:lvl5pPr marL="1810512" indent="0" algn="ctr">
              <a:buNone/>
              <a:defRPr sz="1584"/>
            </a:lvl5pPr>
            <a:lvl6pPr marL="2263140" indent="0" algn="ctr">
              <a:buNone/>
              <a:defRPr sz="1584"/>
            </a:lvl6pPr>
            <a:lvl7pPr marL="2715768" indent="0" algn="ctr">
              <a:buNone/>
              <a:defRPr sz="1584"/>
            </a:lvl7pPr>
            <a:lvl8pPr marL="3168396" indent="0" algn="ctr">
              <a:buNone/>
              <a:defRPr sz="1584"/>
            </a:lvl8pPr>
            <a:lvl9pPr marL="3621024" indent="0" algn="ctr">
              <a:buNone/>
              <a:defRPr sz="1584"/>
            </a:lvl9pPr>
          </a:lstStyle>
          <a:p>
            <a:r>
              <a:rPr lang="en-GB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BA4E73D-F7B5-4295-9AF5-5A9A01B7315A}"/>
              </a:ext>
            </a:extLst>
          </p:cNvPr>
          <p:cNvCxnSpPr>
            <a:cxnSpLocks/>
          </p:cNvCxnSpPr>
          <p:nvPr userDrawn="1"/>
        </p:nvCxnSpPr>
        <p:spPr>
          <a:xfrm>
            <a:off x="774528" y="3949730"/>
            <a:ext cx="53919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A8EBCDE-7195-4BAB-BFF6-E6A49D370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293502"/>
            <a:ext cx="2219765" cy="747898"/>
          </a:xfrm>
          <a:prstGeom prst="rect">
            <a:avLst/>
          </a:prstGeom>
        </p:spPr>
      </p:pic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EF9214D-E90B-496B-9D09-726FC6A50E7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74529" y="5710429"/>
            <a:ext cx="2216785" cy="7680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lient Logo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CCF062-5956-4CFE-8DDA-16E6588B988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4529" y="293502"/>
            <a:ext cx="2225433" cy="7498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6BBB8EF-54B2-4136-AB17-4F91899E7C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4529" y="-1749905"/>
            <a:ext cx="2219765" cy="74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74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803196" y="248734"/>
            <a:ext cx="10180831" cy="786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803195" y="1460501"/>
            <a:ext cx="10623418" cy="4521199"/>
          </a:xfrm>
          <a:prstGeom prst="rect">
            <a:avLst/>
          </a:prstGeom>
        </p:spPr>
        <p:txBody>
          <a:bodyPr vert="horz" lIns="91440" tIns="91440" rIns="91440" bIns="9144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617608"/>
            <a:ext cx="969962" cy="196850"/>
          </a:xfrm>
          <a:prstGeom prst="rect">
            <a:avLst/>
          </a:prstGeom>
        </p:spPr>
        <p:txBody>
          <a:bodyPr anchor="ctr"/>
          <a:lstStyle>
            <a:lvl1pPr algn="r">
              <a:defRPr lang="en-GB" sz="1000" b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4034BEE3-566C-4068-A777-C3A4762E861B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616458"/>
            <a:ext cx="7495200" cy="198000"/>
          </a:xfrm>
          <a:prstGeom prst="rect">
            <a:avLst/>
          </a:prstGeom>
        </p:spPr>
        <p:txBody>
          <a:bodyPr anchor="ctr"/>
          <a:lstStyle>
            <a:lvl1pPr algn="l">
              <a:defRPr lang="en-GB" sz="10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Analytic Edge Proprietary and Confidentia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B0668A5-08B2-4E75-9944-BBC50E8D7C21}"/>
              </a:ext>
            </a:extLst>
          </p:cNvPr>
          <p:cNvCxnSpPr>
            <a:cxnSpLocks/>
          </p:cNvCxnSpPr>
          <p:nvPr userDrawn="1"/>
        </p:nvCxnSpPr>
        <p:spPr>
          <a:xfrm>
            <a:off x="2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A086D5F-4078-44CF-A8CB-1034B6B3628F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1073396" y="61225"/>
            <a:ext cx="1043737" cy="103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4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1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05256" rtl="0" eaLnBrk="1" latinLnBrk="0" hangingPunct="1">
        <a:lnSpc>
          <a:spcPct val="100000"/>
        </a:lnSpc>
        <a:spcBef>
          <a:spcPts val="594"/>
        </a:spcBef>
        <a:buNone/>
        <a:defRPr lang="en-GB" sz="28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165" indent="-179165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6400" indent="-179165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4600" indent="-179165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2800" indent="-178200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454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942082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394710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847338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1pPr>
      <a:lvl2pPr marL="45262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2pPr>
      <a:lvl3pPr marL="90525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3pPr>
      <a:lvl4pPr marL="135788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4pPr>
      <a:lvl5pPr marL="1810512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71576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16839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62102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7158">
          <p15:clr>
            <a:srgbClr val="F26B43"/>
          </p15:clr>
        </p15:guide>
        <p15:guide id="28" orient="horz" pos="920">
          <p15:clr>
            <a:srgbClr val="F26B43"/>
          </p15:clr>
        </p15:guide>
        <p15:guide id="29" orient="horz" pos="656">
          <p15:clr>
            <a:srgbClr val="F26B43"/>
          </p15:clr>
        </p15:guide>
        <p15:guide id="33" orient="horz" pos="4143">
          <p15:clr>
            <a:srgbClr val="F26B43"/>
          </p15:clr>
        </p15:guide>
        <p15:guide id="35" pos="483">
          <p15:clr>
            <a:srgbClr val="F26B43"/>
          </p15:clr>
        </p15:guide>
        <p15:guide id="36" pos="3802">
          <p15:clr>
            <a:srgbClr val="F26B43"/>
          </p15:clr>
        </p15:guide>
        <p15:guide id="37" pos="3744">
          <p15:clr>
            <a:srgbClr val="F26B43"/>
          </p15:clr>
        </p15:guide>
        <p15:guide id="38" pos="3861">
          <p15:clr>
            <a:srgbClr val="F26B43"/>
          </p15:clr>
        </p15:guide>
        <p15:guide id="39" orient="horz" pos="3768">
          <p15:clr>
            <a:srgbClr val="F26B43"/>
          </p15:clr>
        </p15:guide>
        <p15:guide id="40" orient="horz" pos="9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803196" y="248734"/>
            <a:ext cx="10180831" cy="786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803195" y="1460501"/>
            <a:ext cx="10623418" cy="4521199"/>
          </a:xfrm>
          <a:prstGeom prst="rect">
            <a:avLst/>
          </a:prstGeom>
        </p:spPr>
        <p:txBody>
          <a:bodyPr vert="horz" lIns="91440" tIns="91440" rIns="91440" bIns="9144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4" y="6617608"/>
            <a:ext cx="969962" cy="196850"/>
          </a:xfrm>
          <a:prstGeom prst="rect">
            <a:avLst/>
          </a:prstGeom>
        </p:spPr>
        <p:txBody>
          <a:bodyPr anchor="ctr"/>
          <a:lstStyle>
            <a:lvl1pPr algn="r">
              <a:defRPr lang="en-GB" sz="1000" b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4034BEE3-566C-4068-A777-C3A4762E861B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6616458"/>
            <a:ext cx="7495200" cy="198000"/>
          </a:xfrm>
          <a:prstGeom prst="rect">
            <a:avLst/>
          </a:prstGeom>
        </p:spPr>
        <p:txBody>
          <a:bodyPr anchor="ctr"/>
          <a:lstStyle>
            <a:lvl1pPr algn="l">
              <a:defRPr lang="en-GB" sz="10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Analytic Edge Proprietary and Confidentia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B0668A5-08B2-4E75-9944-BBC50E8D7C21}"/>
              </a:ext>
            </a:extLst>
          </p:cNvPr>
          <p:cNvCxnSpPr>
            <a:cxnSpLocks/>
          </p:cNvCxnSpPr>
          <p:nvPr userDrawn="1"/>
        </p:nvCxnSpPr>
        <p:spPr>
          <a:xfrm>
            <a:off x="2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A086D5F-4078-44CF-A8CB-1034B6B3628F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1073396" y="61225"/>
            <a:ext cx="1043737" cy="103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499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05256" rtl="0" eaLnBrk="1" latinLnBrk="0" hangingPunct="1">
        <a:lnSpc>
          <a:spcPct val="100000"/>
        </a:lnSpc>
        <a:spcBef>
          <a:spcPts val="594"/>
        </a:spcBef>
        <a:buNone/>
        <a:defRPr lang="en-GB" sz="28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165" indent="-179165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6400" indent="-179165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4600" indent="-179165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2800" indent="-178200" algn="l" defTabSz="90525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454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942082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394710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847338" indent="-226314" algn="l" defTabSz="905256" rtl="0" eaLnBrk="1" latinLnBrk="0" hangingPunct="1">
        <a:lnSpc>
          <a:spcPct val="90000"/>
        </a:lnSpc>
        <a:spcBef>
          <a:spcPts val="495"/>
        </a:spcBef>
        <a:buFont typeface="Arial" panose="020B0604020202020204" pitchFamily="34" charset="0"/>
        <a:buChar char="•"/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1pPr>
      <a:lvl2pPr marL="45262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2pPr>
      <a:lvl3pPr marL="90525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3pPr>
      <a:lvl4pPr marL="135788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4pPr>
      <a:lvl5pPr marL="1810512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71576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16839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62102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7158">
          <p15:clr>
            <a:srgbClr val="F26B43"/>
          </p15:clr>
        </p15:guide>
        <p15:guide id="28" orient="horz" pos="920">
          <p15:clr>
            <a:srgbClr val="F26B43"/>
          </p15:clr>
        </p15:guide>
        <p15:guide id="29" orient="horz" pos="656">
          <p15:clr>
            <a:srgbClr val="F26B43"/>
          </p15:clr>
        </p15:guide>
        <p15:guide id="33" orient="horz" pos="4143">
          <p15:clr>
            <a:srgbClr val="F26B43"/>
          </p15:clr>
        </p15:guide>
        <p15:guide id="35" pos="483">
          <p15:clr>
            <a:srgbClr val="F26B43"/>
          </p15:clr>
        </p15:guide>
        <p15:guide id="36" pos="3802">
          <p15:clr>
            <a:srgbClr val="F26B43"/>
          </p15:clr>
        </p15:guide>
        <p15:guide id="37" pos="3744">
          <p15:clr>
            <a:srgbClr val="F26B43"/>
          </p15:clr>
        </p15:guide>
        <p15:guide id="38" pos="3861">
          <p15:clr>
            <a:srgbClr val="F26B43"/>
          </p15:clr>
        </p15:guide>
        <p15:guide id="39" orient="horz" pos="3768">
          <p15:clr>
            <a:srgbClr val="F26B43"/>
          </p15:clr>
        </p15:guide>
        <p15:guide id="40" orient="horz" pos="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13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chart" Target="../charts/chart3.xml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11" Type="http://schemas.openxmlformats.org/officeDocument/2006/relationships/image" Target="../media/image11.png"/><Relationship Id="rId5" Type="http://schemas.openxmlformats.org/officeDocument/2006/relationships/chart" Target="../charts/chart1.xml"/><Relationship Id="rId10" Type="http://schemas.openxmlformats.org/officeDocument/2006/relationships/chart" Target="../charts/chart5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330;p1">
            <a:extLst>
              <a:ext uri="{FF2B5EF4-FFF2-40B4-BE49-F238E27FC236}">
                <a16:creationId xmlns:a16="http://schemas.microsoft.com/office/drawing/2014/main" id="{3787968E-292D-4B98-9E1C-C1C82B3799C4}"/>
              </a:ext>
            </a:extLst>
          </p:cNvPr>
          <p:cNvSpPr txBox="1">
            <a:spLocks/>
          </p:cNvSpPr>
          <p:nvPr/>
        </p:nvSpPr>
        <p:spPr>
          <a:xfrm>
            <a:off x="0" y="4024746"/>
            <a:ext cx="12144531" cy="637726"/>
          </a:xfrm>
          <a:prstGeom prst="rect">
            <a:avLst/>
          </a:prstGeom>
          <a:solidFill>
            <a:srgbClr val="DC78C2">
              <a:alpha val="83922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165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600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8200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454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2082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4710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7338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Clr>
                <a:srgbClr val="FFFFFF"/>
              </a:buClr>
              <a:buSzPts val="3200"/>
              <a:buNone/>
            </a:pPr>
            <a:r>
              <a:rPr lang="en-US" sz="3200" b="1" dirty="0">
                <a:solidFill>
                  <a:srgbClr val="FFFFFF"/>
                </a:solidFill>
                <a:latin typeface="Arial"/>
                <a:ea typeface="Calibri"/>
                <a:cs typeface="Calibri"/>
                <a:sym typeface="Calibri"/>
              </a:rPr>
              <a:t>UNILAB - United Laboratories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Google Shape;1331;p1">
            <a:extLst>
              <a:ext uri="{FF2B5EF4-FFF2-40B4-BE49-F238E27FC236}">
                <a16:creationId xmlns:a16="http://schemas.microsoft.com/office/drawing/2014/main" id="{43BD9558-F0E0-424C-83C5-386B74ABE7E0}"/>
              </a:ext>
            </a:extLst>
          </p:cNvPr>
          <p:cNvSpPr txBox="1"/>
          <p:nvPr/>
        </p:nvSpPr>
        <p:spPr>
          <a:xfrm>
            <a:off x="-13648" y="4662472"/>
            <a:ext cx="12144531" cy="1187698"/>
          </a:xfrm>
          <a:prstGeom prst="rect">
            <a:avLst/>
          </a:prstGeom>
          <a:solidFill>
            <a:srgbClr val="244061">
              <a:alpha val="6000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1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ts val="2800"/>
            </a:pPr>
            <a:r>
              <a:rPr lang="en-IN" sz="2800" b="1" dirty="0">
                <a:solidFill>
                  <a:srgbClr val="FFFFFF"/>
                </a:solidFill>
                <a:latin typeface="Arial"/>
                <a:ea typeface="Calibri"/>
                <a:cs typeface="Calibri"/>
                <a:sym typeface="Calibri"/>
              </a:rPr>
              <a:t>Facebook Deep-Dive Analysis – Data Review Deck </a:t>
            </a:r>
          </a:p>
          <a:p>
            <a:pPr marL="0" lvl="1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ts val="2800"/>
            </a:pPr>
            <a:r>
              <a:rPr lang="en-IN" sz="1600" b="1" dirty="0">
                <a:solidFill>
                  <a:srgbClr val="FFFFFF"/>
                </a:solidFill>
                <a:latin typeface="Arial"/>
                <a:ea typeface="Calibri"/>
                <a:cs typeface="Calibri"/>
                <a:sym typeface="Calibri"/>
              </a:rPr>
              <a:t>August 2021</a:t>
            </a:r>
            <a:endParaRPr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9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FE8BF-FFBA-495C-BECD-CB03A8C2A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ebook Best Practice Scorecard: CPG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93005-864E-43ED-BF28-9F034051FF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pPr/>
              <a:t>10</a:t>
            </a:fld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479E22-83BD-4A30-9E7E-72FC2758D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t>© Analytic Edge Proprietary and Confidential</a:t>
            </a:r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039A5BA-EAE1-4D9A-87DD-0F94FE41F7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671577"/>
              </p:ext>
            </p:extLst>
          </p:nvPr>
        </p:nvGraphicFramePr>
        <p:xfrm>
          <a:off x="745334" y="1443018"/>
          <a:ext cx="10596561" cy="5003502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533156">
                  <a:extLst>
                    <a:ext uri="{9D8B030D-6E8A-4147-A177-3AD203B41FA5}">
                      <a16:colId xmlns:a16="http://schemas.microsoft.com/office/drawing/2014/main" val="945782282"/>
                    </a:ext>
                  </a:extLst>
                </a:gridCol>
                <a:gridCol w="2951115">
                  <a:extLst>
                    <a:ext uri="{9D8B030D-6E8A-4147-A177-3AD203B41FA5}">
                      <a16:colId xmlns:a16="http://schemas.microsoft.com/office/drawing/2014/main" val="4200116048"/>
                    </a:ext>
                  </a:extLst>
                </a:gridCol>
                <a:gridCol w="2037430">
                  <a:extLst>
                    <a:ext uri="{9D8B030D-6E8A-4147-A177-3AD203B41FA5}">
                      <a16:colId xmlns:a16="http://schemas.microsoft.com/office/drawing/2014/main" val="2415966785"/>
                    </a:ext>
                  </a:extLst>
                </a:gridCol>
                <a:gridCol w="2037430">
                  <a:extLst>
                    <a:ext uri="{9D8B030D-6E8A-4147-A177-3AD203B41FA5}">
                      <a16:colId xmlns:a16="http://schemas.microsoft.com/office/drawing/2014/main" val="2371395837"/>
                    </a:ext>
                  </a:extLst>
                </a:gridCol>
                <a:gridCol w="2037430">
                  <a:extLst>
                    <a:ext uri="{9D8B030D-6E8A-4147-A177-3AD203B41FA5}">
                      <a16:colId xmlns:a16="http://schemas.microsoft.com/office/drawing/2014/main" val="4097997207"/>
                    </a:ext>
                  </a:extLst>
                </a:gridCol>
              </a:tblGrid>
              <a:tr h="810753">
                <a:tc gridSpan="2"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Creative &amp; Media Best Practices</a:t>
                      </a:r>
                      <a:endParaRPr sz="1200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50" i="0" dirty="0">
                        <a:solidFill>
                          <a:schemeClr val="tx1"/>
                        </a:solidFill>
                        <a:latin typeface="Facebook Reader" panose="020B0503030501040103" pitchFamily="34" charset="0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dirty="0">
                          <a:solidFill>
                            <a:schemeClr val="bg1"/>
                          </a:solidFill>
                          <a:latin typeface="+mn-lt"/>
                        </a:rPr>
                        <a:t>Sub Optimal</a:t>
                      </a:r>
                    </a:p>
                    <a:p>
                      <a:pPr marL="0" marR="0" lvl="0" indent="0" algn="ctr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dirty="0">
                          <a:solidFill>
                            <a:schemeClr val="bg1"/>
                          </a:solidFill>
                          <a:latin typeface="+mn-lt"/>
                        </a:rPr>
                        <a:t>(0 points)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portunity to Improve</a:t>
                      </a:r>
                    </a:p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1 point)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timal                                   (2 points)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916058"/>
                  </a:ext>
                </a:extLst>
              </a:tr>
              <a:tr h="448369"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Frequency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Average Weekly Frequency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&lt;1 per week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1-3 per week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637849"/>
                  </a:ext>
                </a:extLst>
              </a:tr>
              <a:tr h="448369"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Duration</a:t>
                      </a:r>
                      <a:endParaRPr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Campaign Duration</a:t>
                      </a:r>
                      <a:endParaRPr sz="12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&lt;2 week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2 to 4 week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&gt; 4 week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816456"/>
                  </a:ext>
                </a:extLst>
              </a:tr>
              <a:tr h="1049679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Reach</a:t>
                      </a:r>
                      <a:endParaRPr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  <a:tabLst/>
                        <a:defRPr/>
                      </a:pPr>
                      <a:r>
                        <a:rPr lang="en-IN" sz="120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Campaign Reach</a:t>
                      </a:r>
                      <a:endParaRPr lang="en-IN" sz="1200" b="1" i="0" u="none" strike="noStrike" cap="none" dirty="0">
                        <a:solidFill>
                          <a:schemeClr val="dk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Bottom tier reach campaigns (=&lt; 3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  <a:sym typeface="Calibri"/>
                        </a:rPr>
                        <a:t>Middle tier reach campaigns </a:t>
                      </a: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(30% - 5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  <a:sym typeface="Calibri"/>
                        </a:rPr>
                        <a:t>Top tier reach campaigns </a:t>
                      </a: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(&gt;= 5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7424037"/>
                  </a:ext>
                </a:extLst>
              </a:tr>
              <a:tr h="1048177"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Buying Objective</a:t>
                      </a:r>
                      <a:endParaRPr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Using Optimal Buying Objective</a:t>
                      </a:r>
                      <a:endParaRPr lang="en-US" sz="1200" b="1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GB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Clicks, Engagement, Like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All Other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22860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Reach, BAO, VV, Conversions, CatLog Sales, Store Traffic</a:t>
                      </a:r>
                      <a:endParaRPr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144235"/>
                  </a:ext>
                </a:extLst>
              </a:tr>
              <a:tr h="749759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l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lacements</a:t>
                      </a:r>
                      <a:endParaRPr sz="1200" b="1" i="0" u="none" strike="noStrike" kern="1200" cap="none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  <a:tabLst/>
                        <a:defRPr/>
                      </a:pPr>
                      <a:r>
                        <a:rPr lang="en-US" sz="1200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Utilizing Multiple Placements</a:t>
                      </a:r>
                      <a:endParaRPr sz="1200" b="1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</a:rPr>
                        <a:t>Less than 4 Plac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</a:rPr>
                        <a:t>4+ more placements / Automatic Plac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311980"/>
                  </a:ext>
                </a:extLst>
              </a:tr>
              <a:tr h="44839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Calibri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Total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Score out of 10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&lt;=3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4 to 7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&gt;=8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241946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B2AEE1-558C-4DEF-AF72-52DB84FE8F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1026" y="906139"/>
            <a:ext cx="10623418" cy="396000"/>
          </a:xfrm>
        </p:spPr>
        <p:txBody>
          <a:bodyPr/>
          <a:lstStyle/>
          <a:p>
            <a:r>
              <a:rPr lang="en-US" dirty="0"/>
              <a:t>Campaigns are split and graded by Facebook into Optimal, Opportunity to Improve and Sub-optimal </a:t>
            </a:r>
            <a:br>
              <a:rPr lang="en-US" dirty="0"/>
            </a:br>
            <a:r>
              <a:rPr lang="en-US" dirty="0"/>
              <a:t>(grading is subject to change)</a:t>
            </a:r>
          </a:p>
        </p:txBody>
      </p:sp>
    </p:spTree>
    <p:extLst>
      <p:ext uri="{BB962C8B-B14F-4D97-AF65-F5344CB8AC3E}">
        <p14:creationId xmlns:p14="http://schemas.microsoft.com/office/powerpoint/2010/main" val="175102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52054-E245-4A6B-BA85-FC0CAA93B1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rilliant Basics Facebook Deep Div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80BF71-F833-49AE-9C89-2D0D5191AD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pPr/>
              <a:t>2</a:t>
            </a:fld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A4CB3B-59A3-4629-971A-21B4AF62C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t>© Analytic Edge Proprietary and Confidential</a:t>
            </a:r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7F93FB-0848-49A7-851D-8AB248D6EBD0}"/>
              </a:ext>
            </a:extLst>
          </p:cNvPr>
          <p:cNvSpPr/>
          <p:nvPr/>
        </p:nvSpPr>
        <p:spPr bwMode="ltGray">
          <a:xfrm>
            <a:off x="856262" y="1460501"/>
            <a:ext cx="1381506" cy="143622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300"/>
              </a:spcAft>
            </a:pPr>
            <a:r>
              <a:rPr lang="en-IN" sz="1400" b="1" dirty="0">
                <a:solidFill>
                  <a:srgbClr val="FFFFFF"/>
                </a:solidFill>
                <a:latin typeface="Arial"/>
              </a:rPr>
              <a:t>Primary </a:t>
            </a:r>
            <a:br>
              <a:rPr lang="en-IN" sz="1400" b="1" dirty="0">
                <a:solidFill>
                  <a:srgbClr val="FFFFFF"/>
                </a:solidFill>
                <a:latin typeface="Arial"/>
              </a:rPr>
            </a:br>
            <a:r>
              <a:rPr lang="en-IN" sz="1400" b="1" dirty="0">
                <a:solidFill>
                  <a:srgbClr val="FFFFFF"/>
                </a:solidFill>
                <a:latin typeface="Arial"/>
              </a:rPr>
              <a:t>MMM Mod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9188F0-D61D-44DD-A245-D120E16F46B1}"/>
              </a:ext>
            </a:extLst>
          </p:cNvPr>
          <p:cNvSpPr/>
          <p:nvPr/>
        </p:nvSpPr>
        <p:spPr bwMode="ltGray">
          <a:xfrm>
            <a:off x="2296321" y="1460501"/>
            <a:ext cx="9076848" cy="283169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  <a:spcAft>
                <a:spcPts val="300"/>
              </a:spcAft>
            </a:pPr>
            <a:r>
              <a:rPr lang="en-IN" sz="1400" b="1" dirty="0">
                <a:solidFill>
                  <a:srgbClr val="FFFFFF"/>
                </a:solidFill>
                <a:latin typeface="Arial"/>
              </a:rPr>
              <a:t>Total Performan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CD8A73-1C93-4041-A724-E205B527F3CB}"/>
              </a:ext>
            </a:extLst>
          </p:cNvPr>
          <p:cNvSpPr/>
          <p:nvPr/>
        </p:nvSpPr>
        <p:spPr bwMode="ltGray">
          <a:xfrm>
            <a:off x="2296321" y="1780999"/>
            <a:ext cx="9076849" cy="11157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What is the effectiveness and efficiency driven by Facebook for the given period?</a:t>
            </a: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What is the response curve for Facebook – optimal range and diminishing returns?</a:t>
            </a: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How does Facebook performance compare vs total media performance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075025-25B9-4FD0-A850-B979F1E85F86}"/>
              </a:ext>
            </a:extLst>
          </p:cNvPr>
          <p:cNvSpPr/>
          <p:nvPr/>
        </p:nvSpPr>
        <p:spPr bwMode="ltGray">
          <a:xfrm>
            <a:off x="856262" y="2947553"/>
            <a:ext cx="1381506" cy="3580843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300"/>
              </a:spcAft>
            </a:pPr>
            <a:endParaRPr lang="en-IN" sz="1400" b="1" dirty="0">
              <a:solidFill>
                <a:srgbClr val="FFFFFF"/>
              </a:solidFill>
              <a:latin typeface="Arial"/>
            </a:endParaRPr>
          </a:p>
          <a:p>
            <a:pPr algn="ctr">
              <a:spcBef>
                <a:spcPts val="400"/>
              </a:spcBef>
              <a:spcAft>
                <a:spcPts val="300"/>
              </a:spcAft>
            </a:pPr>
            <a:endParaRPr lang="en-IN" sz="1400" b="1" dirty="0">
              <a:solidFill>
                <a:srgbClr val="FFFFFF"/>
              </a:solidFill>
              <a:latin typeface="Arial"/>
            </a:endParaRPr>
          </a:p>
          <a:p>
            <a:pPr algn="ctr">
              <a:spcBef>
                <a:spcPts val="400"/>
              </a:spcBef>
              <a:spcAft>
                <a:spcPts val="300"/>
              </a:spcAft>
            </a:pPr>
            <a:endParaRPr lang="en-IN" sz="1400" b="1" dirty="0">
              <a:solidFill>
                <a:srgbClr val="FFFFFF"/>
              </a:solidFill>
              <a:latin typeface="Arial"/>
            </a:endParaRPr>
          </a:p>
          <a:p>
            <a:pPr algn="ctr">
              <a:spcBef>
                <a:spcPts val="400"/>
              </a:spcBef>
              <a:spcAft>
                <a:spcPts val="300"/>
              </a:spcAft>
            </a:pPr>
            <a:r>
              <a:rPr lang="en-IN" sz="1400" b="1" dirty="0">
                <a:solidFill>
                  <a:srgbClr val="FFFFFF"/>
                </a:solidFill>
                <a:latin typeface="Arial"/>
              </a:rPr>
              <a:t>Deep Dive </a:t>
            </a:r>
            <a:br>
              <a:rPr lang="en-IN" sz="1400" b="1" dirty="0">
                <a:solidFill>
                  <a:srgbClr val="FFFFFF"/>
                </a:solidFill>
                <a:latin typeface="Arial"/>
              </a:rPr>
            </a:br>
            <a:r>
              <a:rPr lang="en-IN" sz="1400" b="1" dirty="0">
                <a:solidFill>
                  <a:srgbClr val="FFFFFF"/>
                </a:solidFill>
                <a:latin typeface="Arial"/>
              </a:rPr>
              <a:t>Analysi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CCCADD-E615-4CB5-B4B0-C78ADD9E324A}"/>
              </a:ext>
            </a:extLst>
          </p:cNvPr>
          <p:cNvSpPr/>
          <p:nvPr/>
        </p:nvSpPr>
        <p:spPr bwMode="ltGray">
          <a:xfrm>
            <a:off x="2296321" y="2959658"/>
            <a:ext cx="9076848" cy="28316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  <a:spcAft>
                <a:spcPts val="300"/>
              </a:spcAft>
            </a:pPr>
            <a:r>
              <a:rPr lang="en-IN" sz="1400" b="1" dirty="0">
                <a:solidFill>
                  <a:srgbClr val="FFFFFF"/>
                </a:solidFill>
                <a:latin typeface="Arial"/>
              </a:rPr>
              <a:t>Campaign Element Deep Div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4326A84-4CF4-4298-8DBB-9AA09977AADC}"/>
              </a:ext>
            </a:extLst>
          </p:cNvPr>
          <p:cNvSpPr/>
          <p:nvPr/>
        </p:nvSpPr>
        <p:spPr bwMode="ltGray">
          <a:xfrm>
            <a:off x="2296320" y="3280156"/>
            <a:ext cx="9076848" cy="22312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Creative: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What is the impact of implementing creative best practices on effectiveness?</a:t>
            </a:r>
            <a:endParaRPr lang="en-IN" sz="1400" dirty="0">
              <a:solidFill>
                <a:srgbClr val="000000"/>
              </a:solidFill>
              <a:latin typeface="Arial"/>
            </a:endParaRP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Reach: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 What is the impact of campaign reach on effectiveness and efficiency?</a:t>
            </a:r>
            <a:endParaRPr lang="en-IN" sz="1400" dirty="0">
              <a:solidFill>
                <a:srgbClr val="000000"/>
              </a:solidFill>
              <a:latin typeface="Arial"/>
            </a:endParaRP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Frequency: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 What is the impact of campaign frequency on effectiveness and efficiency?</a:t>
            </a:r>
            <a:endParaRPr lang="en-IN" sz="1400" dirty="0">
              <a:solidFill>
                <a:srgbClr val="000000"/>
              </a:solidFill>
              <a:latin typeface="Arial"/>
            </a:endParaRP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Duration: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 What is the impact of campaign duration on effectiveness and efficiency?</a:t>
            </a:r>
            <a:endParaRPr lang="en-IN" sz="1400" dirty="0">
              <a:solidFill>
                <a:srgbClr val="000000"/>
              </a:solidFill>
              <a:latin typeface="Arial"/>
            </a:endParaRP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Buying Objective: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What is the impact of different buying objectives on effectiveness and efficiency?</a:t>
            </a:r>
            <a:endParaRPr lang="en-IN" sz="1400" dirty="0">
              <a:solidFill>
                <a:srgbClr val="000000"/>
              </a:solidFill>
              <a:latin typeface="Arial"/>
            </a:endParaRP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Placements: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 What is the impact of campaign placements on effectiveness and efficiency?</a:t>
            </a: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0000"/>
                </a:solidFill>
                <a:latin typeface="Arial"/>
              </a:rPr>
              <a:t>Platform: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 What is the impact of diverse platforms on effectiveness and efficiency?</a:t>
            </a:r>
            <a:endParaRPr lang="en-IN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54480D-45F3-445E-8F97-18BD6B5C4336}"/>
              </a:ext>
            </a:extLst>
          </p:cNvPr>
          <p:cNvSpPr/>
          <p:nvPr/>
        </p:nvSpPr>
        <p:spPr bwMode="ltGray">
          <a:xfrm>
            <a:off x="2296321" y="5560703"/>
            <a:ext cx="9076848" cy="28316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  <a:spcAft>
                <a:spcPts val="3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</a:rPr>
              <a:t>Impact of Best Practice Adoption on Performanc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A0527C4-6BA0-48DD-B84E-9FFCA1327DA1}"/>
              </a:ext>
            </a:extLst>
          </p:cNvPr>
          <p:cNvSpPr/>
          <p:nvPr/>
        </p:nvSpPr>
        <p:spPr bwMode="ltGray">
          <a:xfrm>
            <a:off x="2296320" y="5881203"/>
            <a:ext cx="9076848" cy="6557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What is the impact of best practice adoption on effectiveness and efficiency?</a:t>
            </a:r>
          </a:p>
          <a:p>
            <a:pPr marL="165100" indent="-16510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What is the revenue opportunity available from driving best practice adoption?</a:t>
            </a:r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710DBAC1-73F9-40CB-AC34-A72F83F68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906" y="4146557"/>
            <a:ext cx="1225862" cy="1265406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BF842236-6052-471C-98A0-46AA3BB278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9537" y="1980814"/>
            <a:ext cx="814956" cy="842888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F6CA645D-7A67-4138-948B-A0032D62CCAC}"/>
              </a:ext>
            </a:extLst>
          </p:cNvPr>
          <p:cNvSpPr/>
          <p:nvPr/>
        </p:nvSpPr>
        <p:spPr bwMode="ltGray">
          <a:xfrm>
            <a:off x="1482820" y="2175796"/>
            <a:ext cx="307181" cy="317090"/>
          </a:xfrm>
          <a:prstGeom prst="ellipse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  <a:spcAft>
                <a:spcPts val="300"/>
              </a:spcAft>
            </a:pPr>
            <a:endParaRPr lang="en-IN" sz="16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CADAFE4-E192-44DB-B0C0-6BDBA5E5BF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 of questions answered as part of deep dive analysis</a:t>
            </a:r>
          </a:p>
        </p:txBody>
      </p:sp>
    </p:spTree>
    <p:extLst>
      <p:ext uri="{BB962C8B-B14F-4D97-AF65-F5344CB8AC3E}">
        <p14:creationId xmlns:p14="http://schemas.microsoft.com/office/powerpoint/2010/main" val="421747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947DDD3F-CAE0-4C2B-BE42-3BD82E93FAA9}"/>
              </a:ext>
            </a:extLst>
          </p:cNvPr>
          <p:cNvSpPr/>
          <p:nvPr/>
        </p:nvSpPr>
        <p:spPr bwMode="ltGray">
          <a:xfrm>
            <a:off x="4280917" y="1460501"/>
            <a:ext cx="7143528" cy="186261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GB" sz="16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212F2AD-A87A-4DAB-AFE8-750E9B78DE4D}"/>
              </a:ext>
            </a:extLst>
          </p:cNvPr>
          <p:cNvSpPr/>
          <p:nvPr/>
        </p:nvSpPr>
        <p:spPr bwMode="ltGray">
          <a:xfrm>
            <a:off x="4554809" y="2901429"/>
            <a:ext cx="6639130" cy="32945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sz="16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859B8-6AFA-4B06-8554-41509D009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lliant Basics - Deep Dive modeling proce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B9D01-0D45-4631-B6D3-D8F5A32D7B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pPr/>
              <a:t>3</a:t>
            </a:fld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5FD4AB-AA4A-4249-B5F2-AF99B0282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t>© Analytic Edge Proprietary and Confidential</a:t>
            </a:r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21" name="Rounded Rectangle 28">
            <a:extLst>
              <a:ext uri="{FF2B5EF4-FFF2-40B4-BE49-F238E27FC236}">
                <a16:creationId xmlns:a16="http://schemas.microsoft.com/office/drawing/2014/main" id="{2025DCAD-9360-49E2-B0FF-9C19F4C5B58B}"/>
              </a:ext>
            </a:extLst>
          </p:cNvPr>
          <p:cNvSpPr/>
          <p:nvPr/>
        </p:nvSpPr>
        <p:spPr bwMode="auto">
          <a:xfrm>
            <a:off x="1318419" y="1460501"/>
            <a:ext cx="2962497" cy="1862619"/>
          </a:xfrm>
          <a:prstGeom prst="rect">
            <a:avLst/>
          </a:prstGeom>
          <a:solidFill>
            <a:srgbClr val="002060"/>
          </a:solidFill>
          <a:ln w="1270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896203">
              <a:defRPr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First stage MMM model </a:t>
            </a:r>
            <a:br>
              <a:rPr lang="en-US" sz="1600" b="1" dirty="0">
                <a:solidFill>
                  <a:srgbClr val="FFFFFF"/>
                </a:solidFill>
                <a:latin typeface="Arial"/>
              </a:rPr>
            </a:br>
            <a:r>
              <a:rPr lang="en-US" sz="1600" b="1" dirty="0">
                <a:solidFill>
                  <a:srgbClr val="FFFFFF"/>
                </a:solidFill>
                <a:latin typeface="Arial"/>
              </a:rPr>
              <a:t>attributes sales to peaks and dips in marketing &amp; </a:t>
            </a:r>
            <a:br>
              <a:rPr lang="en-US" sz="1600" b="1" dirty="0">
                <a:solidFill>
                  <a:srgbClr val="FFFFFF"/>
                </a:solidFill>
                <a:latin typeface="Arial"/>
              </a:rPr>
            </a:br>
            <a:r>
              <a:rPr lang="en-US" sz="1600" b="1" dirty="0">
                <a:solidFill>
                  <a:srgbClr val="FFFFFF"/>
                </a:solidFill>
                <a:latin typeface="Arial"/>
              </a:rPr>
              <a:t>non-marketing activities </a:t>
            </a:r>
          </a:p>
        </p:txBody>
      </p:sp>
      <p:sp>
        <p:nvSpPr>
          <p:cNvPr id="22" name="Rounded Rectangle 29">
            <a:extLst>
              <a:ext uri="{FF2B5EF4-FFF2-40B4-BE49-F238E27FC236}">
                <a16:creationId xmlns:a16="http://schemas.microsoft.com/office/drawing/2014/main" id="{0B387496-7B8A-4986-8658-6AC18914C561}"/>
              </a:ext>
            </a:extLst>
          </p:cNvPr>
          <p:cNvSpPr/>
          <p:nvPr/>
        </p:nvSpPr>
        <p:spPr bwMode="auto">
          <a:xfrm>
            <a:off x="1318419" y="3389925"/>
            <a:ext cx="2962497" cy="1520790"/>
          </a:xfrm>
          <a:prstGeom prst="rect">
            <a:avLst/>
          </a:prstGeom>
          <a:solidFill>
            <a:srgbClr val="C82606"/>
          </a:solidFill>
          <a:ln w="1270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896203">
              <a:defRPr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Second stage deep dive models uses Facebook results from previous model to analyze performance of each attribute</a:t>
            </a:r>
          </a:p>
        </p:txBody>
      </p:sp>
      <p:sp>
        <p:nvSpPr>
          <p:cNvPr id="23" name="Rounded Rectangle 30">
            <a:extLst>
              <a:ext uri="{FF2B5EF4-FFF2-40B4-BE49-F238E27FC236}">
                <a16:creationId xmlns:a16="http://schemas.microsoft.com/office/drawing/2014/main" id="{05EE9E03-94BD-4F9B-A4B3-B60B8FA6844C}"/>
              </a:ext>
            </a:extLst>
          </p:cNvPr>
          <p:cNvSpPr/>
          <p:nvPr/>
        </p:nvSpPr>
        <p:spPr bwMode="auto">
          <a:xfrm>
            <a:off x="1318419" y="4997089"/>
            <a:ext cx="2962497" cy="1520790"/>
          </a:xfrm>
          <a:prstGeom prst="rect">
            <a:avLst/>
          </a:prstGeom>
          <a:solidFill>
            <a:srgbClr val="34A5DA"/>
          </a:solidFill>
          <a:ln w="1270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896203">
              <a:defRPr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Calculate the opportunity that exists to increase Facebook performance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35DF16-92BD-4C04-82CB-106B2B90FAE6}"/>
              </a:ext>
            </a:extLst>
          </p:cNvPr>
          <p:cNvSpPr/>
          <p:nvPr/>
        </p:nvSpPr>
        <p:spPr bwMode="ltGray">
          <a:xfrm>
            <a:off x="4280918" y="3389925"/>
            <a:ext cx="7164292" cy="15179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GB" sz="16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9499F88-1DBD-4B16-9F7A-F3EA015EF4B7}"/>
              </a:ext>
            </a:extLst>
          </p:cNvPr>
          <p:cNvSpPr/>
          <p:nvPr/>
        </p:nvSpPr>
        <p:spPr bwMode="ltGray">
          <a:xfrm>
            <a:off x="4280918" y="4999975"/>
            <a:ext cx="7164292" cy="151790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GB" sz="16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FCD30052-54E2-4E6B-A04C-9E799640BE7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54809" y="3401787"/>
            <a:ext cx="3099589" cy="26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81" tIns="44004" rIns="89581" bIns="44004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4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en-US" altLang="en-US" sz="1200" b="1" dirty="0">
                <a:solidFill>
                  <a:srgbClr val="000000"/>
                </a:solidFill>
                <a:latin typeface="Arial"/>
                <a:ea typeface="ＭＳ Ｐゴシック" pitchFamily="34" charset="-128"/>
                <a:cs typeface="Calibri" panose="020F0502020204030204" pitchFamily="34" charset="0"/>
              </a:rPr>
              <a:t>Decompose Facebook sales</a:t>
            </a:r>
          </a:p>
        </p:txBody>
      </p:sp>
      <p:sp>
        <p:nvSpPr>
          <p:cNvPr id="15" name="Rectangle 23">
            <a:extLst>
              <a:ext uri="{FF2B5EF4-FFF2-40B4-BE49-F238E27FC236}">
                <a16:creationId xmlns:a16="http://schemas.microsoft.com/office/drawing/2014/main" id="{5075A7F5-5CB2-4F6A-93BE-67134A66EF4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03824" y="3401786"/>
            <a:ext cx="3438267" cy="263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4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en-US" altLang="en-US" sz="1200" b="1" dirty="0">
                <a:solidFill>
                  <a:srgbClr val="000000"/>
                </a:solidFill>
                <a:latin typeface="Arial"/>
                <a:ea typeface="ＭＳ Ｐゴシック" pitchFamily="34" charset="-128"/>
                <a:cs typeface="Calibri" panose="020F0502020204030204" pitchFamily="34" charset="0"/>
              </a:rPr>
              <a:t>Calculate ROI for each segment</a:t>
            </a: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F7AF67E4-7A2A-4B14-8040-987065EB7C92}"/>
              </a:ext>
            </a:extLst>
          </p:cNvPr>
          <p:cNvGraphicFramePr/>
          <p:nvPr/>
        </p:nvGraphicFramePr>
        <p:xfrm>
          <a:off x="4385470" y="3665619"/>
          <a:ext cx="3438267" cy="1188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F662DA88-A870-4CCA-B593-7A6561129ED4}"/>
              </a:ext>
            </a:extLst>
          </p:cNvPr>
          <p:cNvGraphicFramePr/>
          <p:nvPr/>
        </p:nvGraphicFramePr>
        <p:xfrm>
          <a:off x="7903824" y="3677480"/>
          <a:ext cx="3438267" cy="1177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3A81AD17-4333-4724-AF38-CC45F1AA2F08}"/>
              </a:ext>
            </a:extLst>
          </p:cNvPr>
          <p:cNvGrpSpPr/>
          <p:nvPr/>
        </p:nvGrpSpPr>
        <p:grpSpPr>
          <a:xfrm>
            <a:off x="6104604" y="3173850"/>
            <a:ext cx="3518353" cy="227939"/>
            <a:chOff x="6043484" y="3141145"/>
            <a:chExt cx="3518353" cy="585493"/>
          </a:xfrm>
        </p:grpSpPr>
        <p:cxnSp>
          <p:nvCxnSpPr>
            <p:cNvPr id="60" name="Elbow Connector 22">
              <a:extLst>
                <a:ext uri="{FF2B5EF4-FFF2-40B4-BE49-F238E27FC236}">
                  <a16:creationId xmlns:a16="http://schemas.microsoft.com/office/drawing/2014/main" id="{1AB43C76-0994-4D3F-925E-9158576C0429}"/>
                </a:ext>
              </a:extLst>
            </p:cNvPr>
            <p:cNvCxnSpPr>
              <a:cxnSpLocks/>
              <a:stCxn id="28" idx="2"/>
              <a:endCxn id="15" idx="0"/>
            </p:cNvCxnSpPr>
            <p:nvPr/>
          </p:nvCxnSpPr>
          <p:spPr>
            <a:xfrm rot="16200000" flipH="1">
              <a:off x="8710559" y="2875354"/>
              <a:ext cx="585488" cy="1117069"/>
            </a:xfrm>
            <a:prstGeom prst="bentConnector3">
              <a:avLst>
                <a:gd name="adj1" fmla="val 27017"/>
              </a:avLst>
            </a:prstGeom>
            <a:ln w="12700">
              <a:solidFill>
                <a:schemeClr val="tx1"/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Elbow Connector 22">
              <a:extLst>
                <a:ext uri="{FF2B5EF4-FFF2-40B4-BE49-F238E27FC236}">
                  <a16:creationId xmlns:a16="http://schemas.microsoft.com/office/drawing/2014/main" id="{468B8873-25FD-4E32-A2BA-74320EAFF79F}"/>
                </a:ext>
              </a:extLst>
            </p:cNvPr>
            <p:cNvCxnSpPr>
              <a:cxnSpLocks/>
              <a:stCxn id="28" idx="2"/>
              <a:endCxn id="14" idx="0"/>
            </p:cNvCxnSpPr>
            <p:nvPr/>
          </p:nvCxnSpPr>
          <p:spPr>
            <a:xfrm rot="5400000">
              <a:off x="6951383" y="2233251"/>
              <a:ext cx="585488" cy="2401285"/>
            </a:xfrm>
            <a:prstGeom prst="bentConnector3">
              <a:avLst>
                <a:gd name="adj1" fmla="val 24928"/>
              </a:avLst>
            </a:prstGeom>
            <a:ln w="12700">
              <a:solidFill>
                <a:schemeClr val="tx1"/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22">
            <a:extLst>
              <a:ext uri="{FF2B5EF4-FFF2-40B4-BE49-F238E27FC236}">
                <a16:creationId xmlns:a16="http://schemas.microsoft.com/office/drawing/2014/main" id="{16818846-8068-476D-B0FD-67ABA4DF0C5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13271" y="5014100"/>
            <a:ext cx="3099589" cy="26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81" tIns="44004" rIns="89581" bIns="44004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4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>
                <a:solidFill>
                  <a:srgbClr val="59595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en-US" altLang="en-US" sz="1200" b="1" dirty="0">
                <a:solidFill>
                  <a:srgbClr val="000000"/>
                </a:solidFill>
                <a:latin typeface="Arial"/>
                <a:ea typeface="ＭＳ Ｐゴシック" pitchFamily="34" charset="-128"/>
                <a:cs typeface="Calibri" panose="020F0502020204030204" pitchFamily="34" charset="0"/>
              </a:rPr>
              <a:t>Revenue Opportunity</a:t>
            </a:r>
          </a:p>
        </p:txBody>
      </p:sp>
      <p:graphicFrame>
        <p:nvGraphicFramePr>
          <p:cNvPr id="69" name="Object 2">
            <a:extLst>
              <a:ext uri="{FF2B5EF4-FFF2-40B4-BE49-F238E27FC236}">
                <a16:creationId xmlns:a16="http://schemas.microsoft.com/office/drawing/2014/main" id="{CB45A3D1-A1A3-48E5-ADDD-1132CB7495E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83155" y="5290404"/>
          <a:ext cx="2767684" cy="1158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0" name="Rounded Rectangle 19">
            <a:extLst>
              <a:ext uri="{FF2B5EF4-FFF2-40B4-BE49-F238E27FC236}">
                <a16:creationId xmlns:a16="http://schemas.microsoft.com/office/drawing/2014/main" id="{373CBBB1-C470-4AF0-8ECB-853A0B72C220}"/>
              </a:ext>
            </a:extLst>
          </p:cNvPr>
          <p:cNvSpPr/>
          <p:nvPr/>
        </p:nvSpPr>
        <p:spPr>
          <a:xfrm>
            <a:off x="7557447" y="5349126"/>
            <a:ext cx="532579" cy="209122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rgbClr val="FFFFFF"/>
                </a:solidFill>
                <a:latin typeface="Arial"/>
              </a:rPr>
              <a:t>5.2%</a:t>
            </a:r>
            <a:endParaRPr lang="en-GB" sz="900" b="1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76" name="Elbow Connector 22">
            <a:extLst>
              <a:ext uri="{FF2B5EF4-FFF2-40B4-BE49-F238E27FC236}">
                <a16:creationId xmlns:a16="http://schemas.microsoft.com/office/drawing/2014/main" id="{88711F3F-978C-4C6D-AEA6-D9C902333172}"/>
              </a:ext>
            </a:extLst>
          </p:cNvPr>
          <p:cNvCxnSpPr>
            <a:cxnSpLocks/>
            <a:endCxn id="69" idx="3"/>
          </p:cNvCxnSpPr>
          <p:nvPr/>
        </p:nvCxnSpPr>
        <p:spPr>
          <a:xfrm rot="5400000">
            <a:off x="9024994" y="5111102"/>
            <a:ext cx="984268" cy="532579"/>
          </a:xfrm>
          <a:prstGeom prst="bentConnector2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22">
            <a:extLst>
              <a:ext uri="{FF2B5EF4-FFF2-40B4-BE49-F238E27FC236}">
                <a16:creationId xmlns:a16="http://schemas.microsoft.com/office/drawing/2014/main" id="{E8109AD6-BB6D-479E-A6B4-EB7991294547}"/>
              </a:ext>
            </a:extLst>
          </p:cNvPr>
          <p:cNvCxnSpPr>
            <a:cxnSpLocks/>
          </p:cNvCxnSpPr>
          <p:nvPr/>
        </p:nvCxnSpPr>
        <p:spPr>
          <a:xfrm rot="16200000" flipH="1">
            <a:off x="5712839" y="5111104"/>
            <a:ext cx="984268" cy="532579"/>
          </a:xfrm>
          <a:prstGeom prst="bentConnector2">
            <a:avLst/>
          </a:prstGeom>
          <a:ln w="1270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21D6390E-7E04-4CA9-8C9E-7AE4E57AC5D4}"/>
              </a:ext>
            </a:extLst>
          </p:cNvPr>
          <p:cNvGraphicFramePr/>
          <p:nvPr/>
        </p:nvGraphicFramePr>
        <p:xfrm>
          <a:off x="4377974" y="1580069"/>
          <a:ext cx="6964117" cy="1373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290DBC5F-B027-4E4C-A9EB-38BE1E68FB33}"/>
              </a:ext>
            </a:extLst>
          </p:cNvPr>
          <p:cNvGrpSpPr/>
          <p:nvPr/>
        </p:nvGrpSpPr>
        <p:grpSpPr>
          <a:xfrm>
            <a:off x="5261269" y="2924289"/>
            <a:ext cx="573362" cy="249560"/>
            <a:chOff x="4317142" y="1784778"/>
            <a:chExt cx="573362" cy="249560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554971E-FDF8-4E0E-A854-452ED31A0B6C}"/>
                </a:ext>
              </a:extLst>
            </p:cNvPr>
            <p:cNvSpPr/>
            <p:nvPr/>
          </p:nvSpPr>
          <p:spPr bwMode="ltGray">
            <a:xfrm>
              <a:off x="4317142" y="1874129"/>
              <a:ext cx="72909" cy="7290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7" name="Text Box 10">
              <a:extLst>
                <a:ext uri="{FF2B5EF4-FFF2-40B4-BE49-F238E27FC236}">
                  <a16:creationId xmlns:a16="http://schemas.microsoft.com/office/drawing/2014/main" id="{D85B8A93-081A-41DA-BC93-F2D49D2055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8056" y="1784778"/>
              <a:ext cx="472448" cy="249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8683" tIns="43563" rIns="88683" bIns="43563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896203">
                <a:spcBef>
                  <a:spcPts val="0"/>
                </a:spcBef>
                <a:buNone/>
                <a:defRPr/>
              </a:pPr>
              <a:r>
                <a:rPr lang="en-US" altLang="en-US" sz="1050" dirty="0">
                  <a:solidFill>
                    <a:prstClr val="black"/>
                  </a:solidFill>
                  <a:latin typeface="Arial"/>
                </a:rPr>
                <a:t>Cor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E12B716-AF1A-4DE2-9619-B90EDC84A533}"/>
              </a:ext>
            </a:extLst>
          </p:cNvPr>
          <p:cNvGrpSpPr/>
          <p:nvPr/>
        </p:nvGrpSpPr>
        <p:grpSpPr>
          <a:xfrm>
            <a:off x="8154187" y="2951679"/>
            <a:ext cx="678830" cy="194783"/>
            <a:chOff x="4317142" y="2460663"/>
            <a:chExt cx="678830" cy="194783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A7712CF-2B25-4975-B98C-A9CB8679F4A9}"/>
                </a:ext>
              </a:extLst>
            </p:cNvPr>
            <p:cNvSpPr/>
            <p:nvPr/>
          </p:nvSpPr>
          <p:spPr bwMode="ltGray">
            <a:xfrm>
              <a:off x="4317142" y="2525727"/>
              <a:ext cx="72909" cy="72909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3" name="Content Placeholder 2">
              <a:extLst>
                <a:ext uri="{FF2B5EF4-FFF2-40B4-BE49-F238E27FC236}">
                  <a16:creationId xmlns:a16="http://schemas.microsoft.com/office/drawing/2014/main" id="{D5AD591A-55C0-489C-8BE3-8C112DCD8F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957" b="12635"/>
            <a:stretch/>
          </p:blipFill>
          <p:spPr>
            <a:xfrm>
              <a:off x="4479968" y="2460663"/>
              <a:ext cx="516004" cy="194783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A62C8DC-9694-4D5E-8E86-F10A7EDCB5A8}"/>
              </a:ext>
            </a:extLst>
          </p:cNvPr>
          <p:cNvGrpSpPr/>
          <p:nvPr/>
        </p:nvGrpSpPr>
        <p:grpSpPr>
          <a:xfrm>
            <a:off x="6135808" y="2924289"/>
            <a:ext cx="671145" cy="249560"/>
            <a:chOff x="4317142" y="2007428"/>
            <a:chExt cx="671145" cy="24956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66F240A-95A7-40C8-B0A5-E1E753841A26}"/>
                </a:ext>
              </a:extLst>
            </p:cNvPr>
            <p:cNvSpPr/>
            <p:nvPr/>
          </p:nvSpPr>
          <p:spPr bwMode="ltGray">
            <a:xfrm>
              <a:off x="4317142" y="2100425"/>
              <a:ext cx="72909" cy="72909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5" name="Text Box 10">
              <a:extLst>
                <a:ext uri="{FF2B5EF4-FFF2-40B4-BE49-F238E27FC236}">
                  <a16:creationId xmlns:a16="http://schemas.microsoft.com/office/drawing/2014/main" id="{921B5B5B-19A1-497C-8D03-575B68E4AF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8056" y="2007428"/>
              <a:ext cx="570231" cy="249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8683" tIns="43563" rIns="88683" bIns="43563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buNone/>
              </a:pPr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Onlin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5A1BD09-2092-4EE1-9FFE-B10BDBB31E6A}"/>
              </a:ext>
            </a:extLst>
          </p:cNvPr>
          <p:cNvGrpSpPr/>
          <p:nvPr/>
        </p:nvGrpSpPr>
        <p:grpSpPr>
          <a:xfrm>
            <a:off x="7108129" y="2924289"/>
            <a:ext cx="744883" cy="249560"/>
            <a:chOff x="4317142" y="2225677"/>
            <a:chExt cx="744883" cy="249560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BEE62C7-FFE5-4BE1-8702-1EDA06525EA0}"/>
                </a:ext>
              </a:extLst>
            </p:cNvPr>
            <p:cNvSpPr/>
            <p:nvPr/>
          </p:nvSpPr>
          <p:spPr bwMode="ltGray">
            <a:xfrm>
              <a:off x="4317142" y="2316114"/>
              <a:ext cx="72909" cy="72909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7" name="Text Box 10">
              <a:extLst>
                <a:ext uri="{FF2B5EF4-FFF2-40B4-BE49-F238E27FC236}">
                  <a16:creationId xmlns:a16="http://schemas.microsoft.com/office/drawing/2014/main" id="{417A691E-007A-4F53-8553-2D0BA34A96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8056" y="2225677"/>
              <a:ext cx="643969" cy="249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8683" tIns="43563" rIns="88683" bIns="43563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896203">
                <a:spcBef>
                  <a:spcPts val="0"/>
                </a:spcBef>
                <a:buNone/>
                <a:defRPr/>
              </a:pPr>
              <a:r>
                <a:rPr lang="en-US" altLang="en-US" sz="1050" dirty="0">
                  <a:solidFill>
                    <a:prstClr val="black"/>
                  </a:solidFill>
                  <a:latin typeface="Arial"/>
                </a:rPr>
                <a:t>Promo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76043F1-7156-4F4F-9805-557ABC366BAA}"/>
              </a:ext>
            </a:extLst>
          </p:cNvPr>
          <p:cNvGrpSpPr/>
          <p:nvPr/>
        </p:nvGrpSpPr>
        <p:grpSpPr>
          <a:xfrm>
            <a:off x="9134193" y="2924289"/>
            <a:ext cx="557332" cy="249560"/>
            <a:chOff x="4317142" y="2648918"/>
            <a:chExt cx="557332" cy="249560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BE4ED4C6-AE34-4646-8D3B-6E746C388F9A}"/>
                </a:ext>
              </a:extLst>
            </p:cNvPr>
            <p:cNvSpPr/>
            <p:nvPr/>
          </p:nvSpPr>
          <p:spPr bwMode="ltGray">
            <a:xfrm>
              <a:off x="4317142" y="2742546"/>
              <a:ext cx="72909" cy="72909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" name="Text Box 10">
              <a:extLst>
                <a:ext uri="{FF2B5EF4-FFF2-40B4-BE49-F238E27FC236}">
                  <a16:creationId xmlns:a16="http://schemas.microsoft.com/office/drawing/2014/main" id="{1DF977AC-936C-4F90-AAB7-897D9B1153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8056" y="2648918"/>
              <a:ext cx="456418" cy="249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8683" tIns="43563" rIns="88683" bIns="43563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rgbClr val="595959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896203">
                <a:spcBef>
                  <a:spcPts val="0"/>
                </a:spcBef>
                <a:buNone/>
                <a:defRPr/>
              </a:pPr>
              <a:r>
                <a:rPr lang="en-US" altLang="en-US" sz="1050" dirty="0">
                  <a:solidFill>
                    <a:prstClr val="black"/>
                  </a:solidFill>
                  <a:latin typeface="Arial"/>
                </a:rPr>
                <a:t>Print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D9FE86AA-CFFB-4C64-9E0D-603CD0DF51C4}"/>
              </a:ext>
            </a:extLst>
          </p:cNvPr>
          <p:cNvSpPr/>
          <p:nvPr/>
        </p:nvSpPr>
        <p:spPr bwMode="ltGray">
          <a:xfrm>
            <a:off x="8090026" y="2924289"/>
            <a:ext cx="831725" cy="249560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sz="1600" dirty="0" err="1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79" name="Object 3">
            <a:extLst>
              <a:ext uri="{FF2B5EF4-FFF2-40B4-BE49-F238E27FC236}">
                <a16:creationId xmlns:a16="http://schemas.microsoft.com/office/drawing/2014/main" id="{7DAB8E40-29D4-494E-B174-2DA5DB2084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203647" y="3674593"/>
          <a:ext cx="4650952" cy="1198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38" name="Picture 37" descr="A picture containing icon&#10;&#10;Description automatically generated">
            <a:extLst>
              <a:ext uri="{FF2B5EF4-FFF2-40B4-BE49-F238E27FC236}">
                <a16:creationId xmlns:a16="http://schemas.microsoft.com/office/drawing/2014/main" id="{71BE865A-FC1D-4DA8-BDD5-294DCD4925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9501" y="3770828"/>
            <a:ext cx="856344" cy="856344"/>
          </a:xfrm>
          <a:prstGeom prst="rect">
            <a:avLst/>
          </a:prstGeom>
        </p:spPr>
      </p:pic>
      <p:pic>
        <p:nvPicPr>
          <p:cNvPr id="40" name="Picture 39" descr="Icon&#10;&#10;Description automatically generated">
            <a:extLst>
              <a:ext uri="{FF2B5EF4-FFF2-40B4-BE49-F238E27FC236}">
                <a16:creationId xmlns:a16="http://schemas.microsoft.com/office/drawing/2014/main" id="{B1A8E6EA-96C2-42ED-AF04-8057BC0A19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6228" y="5277932"/>
            <a:ext cx="940298" cy="906126"/>
          </a:xfrm>
          <a:prstGeom prst="rect">
            <a:avLst/>
          </a:prstGeom>
        </p:spPr>
      </p:pic>
      <p:pic>
        <p:nvPicPr>
          <p:cNvPr id="45" name="Picture 44" descr="Icon&#10;&#10;Description automatically generated">
            <a:extLst>
              <a:ext uri="{FF2B5EF4-FFF2-40B4-BE49-F238E27FC236}">
                <a16:creationId xmlns:a16="http://schemas.microsoft.com/office/drawing/2014/main" id="{5A12BF68-DACE-40D8-AC8B-0769C535ACC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7437" y="1915887"/>
            <a:ext cx="889761" cy="889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87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FE8BF-FFBA-495C-BECD-CB03A8C2A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ebook Best Practice Scorecard: CPG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93005-864E-43ED-BF28-9F034051FF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479E22-83BD-4A30-9E7E-72FC2758D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039A5BA-EAE1-4D9A-87DD-0F94FE41F7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492895"/>
              </p:ext>
            </p:extLst>
          </p:nvPr>
        </p:nvGraphicFramePr>
        <p:xfrm>
          <a:off x="797720" y="1481736"/>
          <a:ext cx="10596561" cy="4987644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533156">
                  <a:extLst>
                    <a:ext uri="{9D8B030D-6E8A-4147-A177-3AD203B41FA5}">
                      <a16:colId xmlns:a16="http://schemas.microsoft.com/office/drawing/2014/main" val="945782282"/>
                    </a:ext>
                  </a:extLst>
                </a:gridCol>
                <a:gridCol w="2951115">
                  <a:extLst>
                    <a:ext uri="{9D8B030D-6E8A-4147-A177-3AD203B41FA5}">
                      <a16:colId xmlns:a16="http://schemas.microsoft.com/office/drawing/2014/main" val="4200116048"/>
                    </a:ext>
                  </a:extLst>
                </a:gridCol>
                <a:gridCol w="2037430">
                  <a:extLst>
                    <a:ext uri="{9D8B030D-6E8A-4147-A177-3AD203B41FA5}">
                      <a16:colId xmlns:a16="http://schemas.microsoft.com/office/drawing/2014/main" val="2415966785"/>
                    </a:ext>
                  </a:extLst>
                </a:gridCol>
                <a:gridCol w="2037430">
                  <a:extLst>
                    <a:ext uri="{9D8B030D-6E8A-4147-A177-3AD203B41FA5}">
                      <a16:colId xmlns:a16="http://schemas.microsoft.com/office/drawing/2014/main" val="2371395837"/>
                    </a:ext>
                  </a:extLst>
                </a:gridCol>
                <a:gridCol w="2037430">
                  <a:extLst>
                    <a:ext uri="{9D8B030D-6E8A-4147-A177-3AD203B41FA5}">
                      <a16:colId xmlns:a16="http://schemas.microsoft.com/office/drawing/2014/main" val="4097997207"/>
                    </a:ext>
                  </a:extLst>
                </a:gridCol>
              </a:tblGrid>
              <a:tr h="808183">
                <a:tc gridSpan="2"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Creative &amp; Media Best Practices</a:t>
                      </a:r>
                      <a:endParaRPr sz="1200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Facebook Reader Medium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50" i="0" dirty="0">
                        <a:solidFill>
                          <a:schemeClr val="tx1"/>
                        </a:solidFill>
                        <a:latin typeface="Facebook Reader" panose="020B0503030501040103" pitchFamily="34" charset="0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dirty="0">
                          <a:solidFill>
                            <a:schemeClr val="bg1"/>
                          </a:solidFill>
                          <a:latin typeface="+mn-lt"/>
                        </a:rPr>
                        <a:t>Sub Optimal</a:t>
                      </a:r>
                    </a:p>
                    <a:p>
                      <a:pPr marL="0" marR="0" lvl="0" indent="0" algn="ctr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dirty="0">
                          <a:solidFill>
                            <a:schemeClr val="bg1"/>
                          </a:solidFill>
                          <a:latin typeface="+mn-lt"/>
                        </a:rPr>
                        <a:t>(0 points)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portunity to Improve</a:t>
                      </a:r>
                    </a:p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1 point)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timal                                   (2 points)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916058"/>
                  </a:ext>
                </a:extLst>
              </a:tr>
              <a:tr h="446949"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Frequency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Average Weekly Frequency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&lt;1 per week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1-3 per week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637849"/>
                  </a:ext>
                </a:extLst>
              </a:tr>
              <a:tr h="446949"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Duration</a:t>
                      </a:r>
                      <a:endParaRPr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Campaign Duration</a:t>
                      </a:r>
                      <a:endParaRPr sz="1200" b="0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&lt;2 week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2 to 4 week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&gt; 4 week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816456"/>
                  </a:ext>
                </a:extLst>
              </a:tr>
              <a:tr h="1044855"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Buying Objective</a:t>
                      </a:r>
                      <a:endParaRPr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1pPr>
                      <a:lvl2pPr marL="609585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2pPr>
                      <a:lvl3pPr marL="1219170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3pPr>
                      <a:lvl4pPr marL="182875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4pPr>
                      <a:lvl5pPr marL="243833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5pPr>
                      <a:lvl6pPr marL="3047924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6pPr>
                      <a:lvl7pPr marL="3657509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7pPr>
                      <a:lvl8pPr marL="4267093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8pPr>
                      <a:lvl9pPr marL="4876678" marR="0" algn="l" defTabSz="609585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2400" b="0" i="0" u="none" strike="noStrike" kern="1200" cap="none">
                          <a:solidFill>
                            <a:schemeClr val="tx1"/>
                          </a:solidFill>
                          <a:latin typeface="Facebook Reader Medium"/>
                          <a:sym typeface="Arial"/>
                        </a:defRPr>
                      </a:lvl9pPr>
                    </a:lstStyle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Using Optimal Buying Objective</a:t>
                      </a:r>
                      <a:endParaRPr lang="en-US" sz="1200" b="1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GB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Clicks, Engagement, Likes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All Other</a:t>
                      </a:r>
                      <a:endParaRPr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22860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Reach, BAO, VV, Conversions, CatLog Sales, Store Traffic</a:t>
                      </a:r>
                      <a:endParaRPr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144235"/>
                  </a:ext>
                </a:extLst>
              </a:tr>
              <a:tr h="74738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l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cap="none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lacements</a:t>
                      </a:r>
                      <a:endParaRPr sz="1200" b="1" i="0" u="none" strike="noStrike" kern="1200" cap="none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  <a:tabLst/>
                        <a:defRPr/>
                      </a:pPr>
                      <a:r>
                        <a:rPr lang="en-US" sz="1200" i="0" u="none" strike="noStrike" cap="none" dirty="0">
                          <a:solidFill>
                            <a:schemeClr val="tx1"/>
                          </a:solidFill>
                          <a:latin typeface="+mn-lt"/>
                        </a:rPr>
                        <a:t>Utilizing Multiple Placements</a:t>
                      </a:r>
                      <a:endParaRPr sz="1200" b="1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</a:rPr>
                        <a:t>Less than 4 Plac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</a:rPr>
                        <a:t>4+ more placements / Automatic Plac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311980"/>
                  </a:ext>
                </a:extLst>
              </a:tr>
              <a:tr h="1046351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Reach</a:t>
                      </a:r>
                      <a:endParaRPr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  <a:tabLst/>
                        <a:defRPr/>
                      </a:pPr>
                      <a:r>
                        <a:rPr lang="en-IN" sz="120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Campaign Reach</a:t>
                      </a:r>
                      <a:endParaRPr lang="en-IN" sz="1200" b="1" i="0" u="none" strike="noStrike" cap="none" dirty="0">
                        <a:solidFill>
                          <a:schemeClr val="dk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Bottom tier reach campaigns (=&lt; 2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  <a:sym typeface="Calibri"/>
                        </a:rPr>
                        <a:t>Middle tier reach campaigns </a:t>
                      </a: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(20% - 4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  <a:sym typeface="Calibri"/>
                        </a:rPr>
                        <a:t>Top tier reach campaigns </a:t>
                      </a: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(&gt;= 4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6851346"/>
                  </a:ext>
                </a:extLst>
              </a:tr>
              <a:tr h="446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Calibri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Total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Score out of 10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&lt;=3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4 to 7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IN" sz="12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/>
                          <a:sym typeface="Calibri"/>
                        </a:rPr>
                        <a:t>&gt;=8</a:t>
                      </a:r>
                      <a:endParaRPr sz="12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0525" marR="90525" marT="45275" marB="4527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241946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B2AEE1-558C-4DEF-AF72-52DB84FE8F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ampaigns are split and graded by Facebook into Optimal, Opportunity to Improve and Sub-optimal </a:t>
            </a:r>
            <a:br>
              <a:rPr lang="en-US" dirty="0"/>
            </a:br>
            <a:r>
              <a:rPr lang="en-US" dirty="0"/>
              <a:t>(grading is subject to change)</a:t>
            </a:r>
          </a:p>
        </p:txBody>
      </p:sp>
    </p:spTree>
    <p:extLst>
      <p:ext uri="{BB962C8B-B14F-4D97-AF65-F5344CB8AC3E}">
        <p14:creationId xmlns:p14="http://schemas.microsoft.com/office/powerpoint/2010/main" val="18891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EEE6EE-4123-496E-AEDF-B1B71CBD24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 dirty="0"/>
              <a:t>Execution</a:t>
            </a:r>
          </a:p>
        </p:txBody>
      </p:sp>
      <p:sp>
        <p:nvSpPr>
          <p:cNvPr id="3" name="AutoShape 2" descr="Great Taste Philippines 3-in-1 White Coffee Mix 30g, 10 Packets :  Amazon.in: Grocery &amp; Gourmet Food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87146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EEE6EE-4123-496E-AEDF-B1B71CBD24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IN" dirty="0"/>
              <a:t>Reach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4BFFFA1-5CC9-4E8D-AD10-96C35BE484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046234"/>
              </p:ext>
            </p:extLst>
          </p:nvPr>
        </p:nvGraphicFramePr>
        <p:xfrm>
          <a:off x="3835400" y="5181600"/>
          <a:ext cx="7527924" cy="1226081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509308">
                  <a:extLst>
                    <a:ext uri="{9D8B030D-6E8A-4147-A177-3AD203B41FA5}">
                      <a16:colId xmlns:a16="http://schemas.microsoft.com/office/drawing/2014/main" val="2415966785"/>
                    </a:ext>
                  </a:extLst>
                </a:gridCol>
                <a:gridCol w="2509308">
                  <a:extLst>
                    <a:ext uri="{9D8B030D-6E8A-4147-A177-3AD203B41FA5}">
                      <a16:colId xmlns:a16="http://schemas.microsoft.com/office/drawing/2014/main" val="2371395837"/>
                    </a:ext>
                  </a:extLst>
                </a:gridCol>
                <a:gridCol w="2509308">
                  <a:extLst>
                    <a:ext uri="{9D8B030D-6E8A-4147-A177-3AD203B41FA5}">
                      <a16:colId xmlns:a16="http://schemas.microsoft.com/office/drawing/2014/main" val="4097997207"/>
                    </a:ext>
                  </a:extLst>
                </a:gridCol>
              </a:tblGrid>
              <a:tr h="58599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rtl="0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dirty="0">
                          <a:solidFill>
                            <a:schemeClr val="bg1"/>
                          </a:solidFill>
                          <a:latin typeface="+mn-lt"/>
                        </a:rPr>
                        <a:t>Sub Optimal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portunity to Improve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ctr" defTabSz="609585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timal</a:t>
                      </a:r>
                    </a:p>
                  </a:txBody>
                  <a:tcPr marL="90533" marR="90533" marT="45267" marB="4526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916058"/>
                  </a:ext>
                </a:extLst>
              </a:tr>
              <a:tr h="614159"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Bottom tier reach campaigns (=&lt; 2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  <a:sym typeface="Calibri"/>
                        </a:rPr>
                        <a:t>Middle tier reach campaigns </a:t>
                      </a: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(20% - 4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/>
                          <a:cs typeface="Calibri"/>
                          <a:sym typeface="Calibri"/>
                        </a:rPr>
                        <a:t>Top tier reach campaigns </a:t>
                      </a: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  <a:sym typeface="Calibri"/>
                        </a:rPr>
                        <a:t>(&gt;= 40% of target audience)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4775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006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FE8BF-FFBA-495C-BECD-CB03A8C2A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ach (% of Total Population)- T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93005-864E-43ED-BF28-9F034051FF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pPr/>
              <a:t>7</a:t>
            </a:fld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479E22-83BD-4A30-9E7E-72FC2758D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t>© Analytic Edge Proprietary and Confidential</a:t>
            </a:r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9C6AB922-BA4D-4537-BD58-814C137CC5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798544"/>
              </p:ext>
            </p:extLst>
          </p:nvPr>
        </p:nvGraphicFramePr>
        <p:xfrm>
          <a:off x="827883" y="1480459"/>
          <a:ext cx="10597923" cy="4459121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845808">
                  <a:extLst>
                    <a:ext uri="{9D8B030D-6E8A-4147-A177-3AD203B41FA5}">
                      <a16:colId xmlns:a16="http://schemas.microsoft.com/office/drawing/2014/main" val="323262270"/>
                    </a:ext>
                  </a:extLst>
                </a:gridCol>
                <a:gridCol w="3121479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229708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229708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036462">
                  <a:extLst>
                    <a:ext uri="{9D8B030D-6E8A-4147-A177-3AD203B41FA5}">
                      <a16:colId xmlns:a16="http://schemas.microsoft.com/office/drawing/2014/main" val="2199457561"/>
                    </a:ext>
                  </a:extLst>
                </a:gridCol>
              </a:tblGrid>
              <a:tr h="5464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Impact of Reach 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pend Share (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Effectiveness</a:t>
                      </a:r>
                    </a:p>
                    <a:p>
                      <a:pPr algn="ctr"/>
                      <a:r>
                        <a:rPr lang="en-IN" sz="1000" b="0" dirty="0">
                          <a:solidFill>
                            <a:schemeClr val="bg1"/>
                          </a:solidFill>
                          <a:latin typeface="+mn-lt"/>
                        </a:rPr>
                        <a:t>Volume per million impressions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ROI </a:t>
                      </a:r>
                      <a:endParaRPr lang="en-IN" sz="10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PM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12838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b Optimal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=&lt; 20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2606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74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735755"/>
                  </a:ext>
                </a:extLst>
              </a:tr>
              <a:tr h="12838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portunity to Improve (20%-40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69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8311545"/>
                  </a:ext>
                </a:extLst>
              </a:tr>
              <a:tr h="12838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timal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&gt;= 40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A5DA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98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242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1131345"/>
                  </a:ext>
                </a:extLst>
              </a:tr>
            </a:tbl>
          </a:graphicData>
        </a:graphic>
      </p:graphicFrame>
      <p:graphicFrame>
        <p:nvGraphicFramePr>
          <p:cNvPr id="10" name="Object 3">
            <a:extLst>
              <a:ext uri="{FF2B5EF4-FFF2-40B4-BE49-F238E27FC236}">
                <a16:creationId xmlns:a16="http://schemas.microsoft.com/office/drawing/2014/main" id="{26623154-5D98-4CF5-B601-D4A8DE4560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7580829"/>
              </p:ext>
            </p:extLst>
          </p:nvPr>
        </p:nvGraphicFramePr>
        <p:xfrm>
          <a:off x="2753519" y="2146009"/>
          <a:ext cx="2870200" cy="3763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5E09B6D-5B4B-4641-A9FF-D56895472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204299"/>
              </p:ext>
            </p:extLst>
          </p:nvPr>
        </p:nvGraphicFramePr>
        <p:xfrm>
          <a:off x="5630069" y="1889581"/>
          <a:ext cx="2066926" cy="414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92AE4A8-A26E-4087-B673-ADEE682EE7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6946587"/>
              </p:ext>
            </p:extLst>
          </p:nvPr>
        </p:nvGraphicFramePr>
        <p:xfrm>
          <a:off x="7938295" y="1889581"/>
          <a:ext cx="2066926" cy="414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6C30AE-AA41-4D01-8698-29E9C60AF6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aching more people with the campaign leads to better effectiveness and ROI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532B271-890B-405E-BDF7-AF41C5F5688D}"/>
              </a:ext>
            </a:extLst>
          </p:cNvPr>
          <p:cNvCxnSpPr>
            <a:cxnSpLocks/>
          </p:cNvCxnSpPr>
          <p:nvPr/>
        </p:nvCxnSpPr>
        <p:spPr>
          <a:xfrm>
            <a:off x="10389343" y="1480459"/>
            <a:ext cx="0" cy="4440657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3BA8A566-1EDE-4CCA-A22B-BA9B63EB2A2F}"/>
              </a:ext>
            </a:extLst>
          </p:cNvPr>
          <p:cNvSpPr txBox="1">
            <a:spLocks/>
          </p:cNvSpPr>
          <p:nvPr/>
        </p:nvSpPr>
        <p:spPr>
          <a:xfrm>
            <a:off x="840862" y="6021389"/>
            <a:ext cx="10516908" cy="231774"/>
          </a:xfrm>
          <a:prstGeom prst="rect">
            <a:avLst/>
          </a:prstGeom>
        </p:spPr>
        <p:txBody>
          <a:bodyPr vert="horz" lIns="91440" tIns="91440" rIns="91440" bIns="91440" rtlCol="0" anchor="ctr">
            <a:noAutofit/>
          </a:bodyPr>
          <a:lstStyle>
            <a:lvl1pPr marL="0" indent="0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165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600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8200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454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2082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4710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7338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52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ch in numbers : (&lt;20% = 21.8 Mil) , (20-40% = 21.8 –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43.6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l) , (&gt;40 % =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43.6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109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l)</a:t>
            </a:r>
          </a:p>
        </p:txBody>
      </p:sp>
    </p:spTree>
    <p:extLst>
      <p:ext uri="{BB962C8B-B14F-4D97-AF65-F5344CB8AC3E}">
        <p14:creationId xmlns:p14="http://schemas.microsoft.com/office/powerpoint/2010/main" val="271167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FE8BF-FFBA-495C-BECD-CB03A8C2A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ach (% of Total Population)- Stone Lea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93005-864E-43ED-BF28-9F034051FF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pPr/>
              <a:t>8</a:t>
            </a:fld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479E22-83BD-4A30-9E7E-72FC2758D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t>© Analytic Edge Proprietary and Confidential</a:t>
            </a:r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9C6AB922-BA4D-4537-BD58-814C137CC5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13425"/>
              </p:ext>
            </p:extLst>
          </p:nvPr>
        </p:nvGraphicFramePr>
        <p:xfrm>
          <a:off x="827883" y="1480459"/>
          <a:ext cx="10597923" cy="4459121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845808">
                  <a:extLst>
                    <a:ext uri="{9D8B030D-6E8A-4147-A177-3AD203B41FA5}">
                      <a16:colId xmlns:a16="http://schemas.microsoft.com/office/drawing/2014/main" val="323262270"/>
                    </a:ext>
                  </a:extLst>
                </a:gridCol>
                <a:gridCol w="3121479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229708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229708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036462">
                  <a:extLst>
                    <a:ext uri="{9D8B030D-6E8A-4147-A177-3AD203B41FA5}">
                      <a16:colId xmlns:a16="http://schemas.microsoft.com/office/drawing/2014/main" val="2199457561"/>
                    </a:ext>
                  </a:extLst>
                </a:gridCol>
              </a:tblGrid>
              <a:tr h="5464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Impact of Reach 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pend Share (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Effectiveness</a:t>
                      </a:r>
                    </a:p>
                    <a:p>
                      <a:pPr algn="ctr"/>
                      <a:r>
                        <a:rPr lang="en-IN" sz="1000" b="0" dirty="0">
                          <a:solidFill>
                            <a:schemeClr val="bg1"/>
                          </a:solidFill>
                          <a:latin typeface="+mn-lt"/>
                        </a:rPr>
                        <a:t>Volume per million impressions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ROI </a:t>
                      </a:r>
                      <a:endParaRPr lang="en-IN" sz="10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PM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12838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b Optimal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=&lt; 20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2606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.63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735755"/>
                  </a:ext>
                </a:extLst>
              </a:tr>
              <a:tr h="12838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portunity to Improve (20%-40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80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8311545"/>
                  </a:ext>
                </a:extLst>
              </a:tr>
              <a:tr h="12838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timal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&gt;= 40%)</a:t>
                      </a: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A5DA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11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242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0" marR="1828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1131345"/>
                  </a:ext>
                </a:extLst>
              </a:tr>
            </a:tbl>
          </a:graphicData>
        </a:graphic>
      </p:graphicFrame>
      <p:graphicFrame>
        <p:nvGraphicFramePr>
          <p:cNvPr id="10" name="Object 3">
            <a:extLst>
              <a:ext uri="{FF2B5EF4-FFF2-40B4-BE49-F238E27FC236}">
                <a16:creationId xmlns:a16="http://schemas.microsoft.com/office/drawing/2014/main" id="{26623154-5D98-4CF5-B601-D4A8DE4560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6690349"/>
              </p:ext>
            </p:extLst>
          </p:nvPr>
        </p:nvGraphicFramePr>
        <p:xfrm>
          <a:off x="2753519" y="2146009"/>
          <a:ext cx="2870200" cy="3763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5E09B6D-5B4B-4641-A9FF-D56895472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218133"/>
              </p:ext>
            </p:extLst>
          </p:nvPr>
        </p:nvGraphicFramePr>
        <p:xfrm>
          <a:off x="5630069" y="1889581"/>
          <a:ext cx="2066926" cy="414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92AE4A8-A26E-4087-B673-ADEE682EE7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7529021"/>
              </p:ext>
            </p:extLst>
          </p:nvPr>
        </p:nvGraphicFramePr>
        <p:xfrm>
          <a:off x="7938295" y="1889581"/>
          <a:ext cx="2066926" cy="414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6C30AE-AA41-4D01-8698-29E9C60AF6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aching more people with the campaign leads to better effectiveness and ROI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532B271-890B-405E-BDF7-AF41C5F5688D}"/>
              </a:ext>
            </a:extLst>
          </p:cNvPr>
          <p:cNvCxnSpPr>
            <a:cxnSpLocks/>
          </p:cNvCxnSpPr>
          <p:nvPr/>
        </p:nvCxnSpPr>
        <p:spPr>
          <a:xfrm>
            <a:off x="10389343" y="1480459"/>
            <a:ext cx="0" cy="4440657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3BA8A566-1EDE-4CCA-A22B-BA9B63EB2A2F}"/>
              </a:ext>
            </a:extLst>
          </p:cNvPr>
          <p:cNvSpPr txBox="1">
            <a:spLocks/>
          </p:cNvSpPr>
          <p:nvPr/>
        </p:nvSpPr>
        <p:spPr>
          <a:xfrm>
            <a:off x="840862" y="6021389"/>
            <a:ext cx="10516908" cy="231774"/>
          </a:xfrm>
          <a:prstGeom prst="rect">
            <a:avLst/>
          </a:prstGeom>
        </p:spPr>
        <p:txBody>
          <a:bodyPr vert="horz" lIns="91440" tIns="91440" rIns="91440" bIns="91440" rtlCol="0" anchor="ctr">
            <a:noAutofit/>
          </a:bodyPr>
          <a:lstStyle>
            <a:lvl1pPr marL="0" indent="0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165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600" indent="-179165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8200" algn="l" defTabSz="90525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454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2082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4710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7338" indent="-226314" algn="l" defTabSz="905256" rtl="0" eaLnBrk="1" latinLnBrk="0" hangingPunct="1">
              <a:lnSpc>
                <a:spcPct val="90000"/>
              </a:lnSpc>
              <a:spcBef>
                <a:spcPts val="495"/>
              </a:spcBef>
              <a:buFont typeface="Arial" panose="020B0604020202020204" pitchFamily="34" charset="0"/>
              <a:buChar char="•"/>
              <a:defRPr sz="178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525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ch in numbers : (&lt;20% = 21.8 Mil) , (20-40% = 21.8 –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43.6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l) , (&gt;40 % =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43.6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109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l)</a:t>
            </a:r>
          </a:p>
        </p:txBody>
      </p:sp>
    </p:spTree>
    <p:extLst>
      <p:ext uri="{BB962C8B-B14F-4D97-AF65-F5344CB8AC3E}">
        <p14:creationId xmlns:p14="http://schemas.microsoft.com/office/powerpoint/2010/main" val="3653713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27F545-7452-4124-939A-48897F5FB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Key Takeaways - Exec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9FFA32-AE05-491A-AACD-7A874483FB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pPr/>
              <a:t>9</a:t>
            </a:fld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46DB7B-0B89-4571-B50E-C1147260D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4A5DA">
                    <a:lumMod val="60000"/>
                    <a:lumOff val="40000"/>
                  </a:srgbClr>
                </a:solidFill>
                <a:latin typeface="Arial"/>
              </a:rPr>
              <a:t>© Analytic Edge Proprietary and Confidential</a:t>
            </a:r>
            <a:endParaRPr lang="en-GB" dirty="0">
              <a:solidFill>
                <a:srgbClr val="34A5DA">
                  <a:lumMod val="60000"/>
                  <a:lumOff val="40000"/>
                </a:srgbClr>
              </a:solidFill>
              <a:latin typeface="Arial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09B0341-53CE-4C65-B35E-7069EE9CC268}"/>
              </a:ext>
            </a:extLst>
          </p:cNvPr>
          <p:cNvCxnSpPr/>
          <p:nvPr/>
        </p:nvCxnSpPr>
        <p:spPr>
          <a:xfrm>
            <a:off x="373636" y="3272108"/>
            <a:ext cx="11620983" cy="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4844BCA-66FE-4D81-8518-62890FF4C140}"/>
              </a:ext>
            </a:extLst>
          </p:cNvPr>
          <p:cNvCxnSpPr/>
          <p:nvPr/>
        </p:nvCxnSpPr>
        <p:spPr>
          <a:xfrm>
            <a:off x="373636" y="4447783"/>
            <a:ext cx="11620983" cy="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7C4BFD8-EE88-43C4-BAF5-083A6692ED59}"/>
              </a:ext>
            </a:extLst>
          </p:cNvPr>
          <p:cNvGrpSpPr/>
          <p:nvPr/>
        </p:nvGrpSpPr>
        <p:grpSpPr>
          <a:xfrm>
            <a:off x="827883" y="1460501"/>
            <a:ext cx="10596563" cy="4921249"/>
            <a:chOff x="3149602" y="1460500"/>
            <a:chExt cx="8213724" cy="1398989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E65CBC4-7C80-4E4F-B14C-8281313636C0}"/>
                </a:ext>
              </a:extLst>
            </p:cNvPr>
            <p:cNvSpPr/>
            <p:nvPr/>
          </p:nvSpPr>
          <p:spPr bwMode="ltGray">
            <a:xfrm>
              <a:off x="3149602" y="1460500"/>
              <a:ext cx="8213723" cy="154207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400"/>
                </a:spcBef>
                <a:spcAft>
                  <a:spcPts val="300"/>
                </a:spcAft>
              </a:pPr>
              <a:r>
                <a:rPr lang="en-US" sz="2000" b="1" dirty="0">
                  <a:solidFill>
                    <a:srgbClr val="FFFFFF"/>
                  </a:solidFill>
                  <a:latin typeface="Arial"/>
                </a:rPr>
                <a:t>Optimize Reach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D10AF08-5B56-4B61-891C-FCE35B8B053D}"/>
                </a:ext>
              </a:extLst>
            </p:cNvPr>
            <p:cNvSpPr/>
            <p:nvPr/>
          </p:nvSpPr>
          <p:spPr bwMode="ltGray">
            <a:xfrm>
              <a:off x="3149602" y="1618979"/>
              <a:ext cx="8213724" cy="124051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65100" indent="-165100">
                <a:spcBef>
                  <a:spcPts val="1200"/>
                </a:spcBef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Campaigns with  40% Reach generate the best returns</a:t>
              </a:r>
            </a:p>
            <a:p>
              <a:pPr marL="165100" indent="-165100">
                <a:spcBef>
                  <a:spcPts val="1200"/>
                </a:spcBef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There is an opportunity to consolidate to ensure campaigns meet the optimal execution criteria to maximize ROI.</a:t>
              </a: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8E584E4-37CA-41A5-84A0-845445891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2605" y="3791363"/>
            <a:ext cx="2505094" cy="250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65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a8.Fi47k2nVYc9NQe2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1Kfu4Sv02op8MUGC6N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a8.Fi47k2nVYc9NQe2Ag"/>
</p:tagLst>
</file>

<file path=ppt/theme/theme1.xml><?xml version="1.0" encoding="utf-8"?>
<a:theme xmlns:a="http://schemas.openxmlformats.org/drawingml/2006/main" name="Analytic Edge master template ">
  <a:themeElements>
    <a:clrScheme name="Custom 76">
      <a:dk1>
        <a:srgbClr val="000000"/>
      </a:dk1>
      <a:lt1>
        <a:srgbClr val="FFFFFF"/>
      </a:lt1>
      <a:dk2>
        <a:srgbClr val="002060"/>
      </a:dk2>
      <a:lt2>
        <a:srgbClr val="7030A0"/>
      </a:lt2>
      <a:accent1>
        <a:srgbClr val="34A5DA"/>
      </a:accent1>
      <a:accent2>
        <a:srgbClr val="858585"/>
      </a:accent2>
      <a:accent3>
        <a:srgbClr val="C82606"/>
      </a:accent3>
      <a:accent4>
        <a:srgbClr val="252526"/>
      </a:accent4>
      <a:accent5>
        <a:srgbClr val="A1C1E9"/>
      </a:accent5>
      <a:accent6>
        <a:srgbClr val="4F82BD"/>
      </a:accent6>
      <a:hlink>
        <a:srgbClr val="333333"/>
      </a:hlink>
      <a:folHlink>
        <a:srgbClr val="7F7F7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.potx" id="{72C55E70-DCC0-48BC-A8D3-254C9D85EE6B}" vid="{C23FF744-6EF1-4703-9F18-C96C6AEBAFAC}"/>
    </a:ext>
  </a:extLst>
</a:theme>
</file>

<file path=ppt/theme/theme2.xml><?xml version="1.0" encoding="utf-8"?>
<a:theme xmlns:a="http://schemas.openxmlformats.org/drawingml/2006/main" name="1_Analytic Edge master template ">
  <a:themeElements>
    <a:clrScheme name="Custom 76">
      <a:dk1>
        <a:srgbClr val="000000"/>
      </a:dk1>
      <a:lt1>
        <a:srgbClr val="FFFFFF"/>
      </a:lt1>
      <a:dk2>
        <a:srgbClr val="002060"/>
      </a:dk2>
      <a:lt2>
        <a:srgbClr val="7030A0"/>
      </a:lt2>
      <a:accent1>
        <a:srgbClr val="34A5DA"/>
      </a:accent1>
      <a:accent2>
        <a:srgbClr val="858585"/>
      </a:accent2>
      <a:accent3>
        <a:srgbClr val="C82606"/>
      </a:accent3>
      <a:accent4>
        <a:srgbClr val="252526"/>
      </a:accent4>
      <a:accent5>
        <a:srgbClr val="A1C1E9"/>
      </a:accent5>
      <a:accent6>
        <a:srgbClr val="4F82BD"/>
      </a:accent6>
      <a:hlink>
        <a:srgbClr val="333333"/>
      </a:hlink>
      <a:folHlink>
        <a:srgbClr val="7F7F7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.potx" id="{72C55E70-DCC0-48BC-A8D3-254C9D85EE6B}" vid="{C23FF744-6EF1-4703-9F18-C96C6AEBAFA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0000"/>
    </a:dk2>
    <a:lt2>
      <a:srgbClr val="707276"/>
    </a:lt2>
    <a:accent1>
      <a:srgbClr val="00AEEF"/>
    </a:accent1>
    <a:accent2>
      <a:srgbClr val="B21DAC"/>
    </a:accent2>
    <a:accent3>
      <a:srgbClr val="8DC63F"/>
    </a:accent3>
    <a:accent4>
      <a:srgbClr val="FFB100"/>
    </a:accent4>
    <a:accent5>
      <a:srgbClr val="DC0015"/>
    </a:accent5>
    <a:accent6>
      <a:srgbClr val="000000"/>
    </a:accent6>
    <a:hlink>
      <a:srgbClr val="B21DAC"/>
    </a:hlink>
    <a:folHlink>
      <a:srgbClr val="DC0015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97</TotalTime>
  <Words>941</Words>
  <Application>Microsoft Office PowerPoint</Application>
  <PresentationFormat>Widescreen</PresentationFormat>
  <Paragraphs>199</Paragraphs>
  <Slides>1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Montserrat Medium</vt:lpstr>
      <vt:lpstr>Optimistic Display</vt:lpstr>
      <vt:lpstr>Analytic Edge master template </vt:lpstr>
      <vt:lpstr>1_Analytic Edge master template </vt:lpstr>
      <vt:lpstr>PowerPoint Presentation</vt:lpstr>
      <vt:lpstr>Brilliant Basics Facebook Deep Dive</vt:lpstr>
      <vt:lpstr>Brilliant Basics - Deep Dive modeling process</vt:lpstr>
      <vt:lpstr>Facebook Best Practice Scorecard: CPG</vt:lpstr>
      <vt:lpstr>PowerPoint Presentation</vt:lpstr>
      <vt:lpstr>PowerPoint Presentation</vt:lpstr>
      <vt:lpstr>Reach (% of Total Population)- TON</vt:lpstr>
      <vt:lpstr>Reach (% of Total Population)- Stone Leads</vt:lpstr>
      <vt:lpstr>Key Takeaways - Execution</vt:lpstr>
      <vt:lpstr>Facebook Best Practice Scorecard: CP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is Pc</dc:creator>
  <cp:lastModifiedBy>Kavya Bhat</cp:lastModifiedBy>
  <cp:revision>127</cp:revision>
  <dcterms:created xsi:type="dcterms:W3CDTF">2021-09-24T08:23:30Z</dcterms:created>
  <dcterms:modified xsi:type="dcterms:W3CDTF">2022-11-25T12:10:18Z</dcterms:modified>
</cp:coreProperties>
</file>